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1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B1688B-2B02-95C4-BF76-6146F6EEA2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FDA3B500-605F-F315-F048-7585B22CCF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A3B500-605F-F315-F048-7585B22CCF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B307562-8F7E-1C3F-90E0-1D2AE7FD4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3D7506F-2DB2-9092-4341-184A0E09C68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Shape1_20211123_123008">
            <a:extLst>
              <a:ext uri="{FF2B5EF4-FFF2-40B4-BE49-F238E27FC236}">
                <a16:creationId xmlns:a16="http://schemas.microsoft.com/office/drawing/2014/main" id="{429FEAFE-62B4-7BB7-776F-40B3386F33FD}"/>
              </a:ext>
            </a:extLst>
          </p:cNvPr>
          <p:cNvSpPr txBox="1">
            <a:spLocks/>
          </p:cNvSpPr>
          <p:nvPr/>
        </p:nvSpPr>
        <p:spPr>
          <a:xfrm>
            <a:off x="1384662" y="1648535"/>
            <a:ext cx="6521879" cy="2492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750715">
              <a:lnSpc>
                <a:spcPct val="90000"/>
              </a:lnSpc>
              <a:buSzPct val="100000"/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ECA86E5-2849-A1BC-3D5B-272AB9B9A0D1}"/>
              </a:ext>
            </a:extLst>
          </p:cNvPr>
          <p:cNvSpPr/>
          <p:nvPr/>
        </p:nvSpPr>
        <p:spPr>
          <a:xfrm>
            <a:off x="685501" y="1475371"/>
            <a:ext cx="581538" cy="581536"/>
          </a:xfrm>
          <a:prstGeom prst="ellipse">
            <a:avLst/>
          </a:prstGeom>
          <a:solidFill>
            <a:schemeClr val="bg1"/>
          </a:solidFill>
        </p:spPr>
        <p:txBody>
          <a:bodyPr wrap="square" tIns="300022" bIns="300022" rtlCol="0" anchor="ctr" anchorCtr="0">
            <a:noAutofit/>
          </a:bodyPr>
          <a:lstStyle/>
          <a:p>
            <a:pPr algn="ctr" defTabSz="1500437">
              <a:lnSpc>
                <a:spcPct val="80000"/>
              </a:lnSpc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Shape1_20221011_163854">
            <a:extLst>
              <a:ext uri="{FF2B5EF4-FFF2-40B4-BE49-F238E27FC236}">
                <a16:creationId xmlns:a16="http://schemas.microsoft.com/office/drawing/2014/main" id="{36EBA408-00A0-676F-887C-4FFBEE432CD5}"/>
              </a:ext>
            </a:extLst>
          </p:cNvPr>
          <p:cNvSpPr/>
          <p:nvPr/>
        </p:nvSpPr>
        <p:spPr>
          <a:xfrm>
            <a:off x="626323" y="1404993"/>
            <a:ext cx="722916" cy="722916"/>
          </a:xfrm>
          <a:prstGeom prst="blockArc">
            <a:avLst>
              <a:gd name="adj1" fmla="val 4671934"/>
              <a:gd name="adj2" fmla="val 18906429"/>
              <a:gd name="adj3" fmla="val 62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0437">
              <a:lnSpc>
                <a:spcPct val="90000"/>
              </a:lnSpc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7" name="Freeform 16">
            <a:extLst>
              <a:ext uri="{FF2B5EF4-FFF2-40B4-BE49-F238E27FC236}">
                <a16:creationId xmlns:a16="http://schemas.microsoft.com/office/drawing/2014/main" id="{1F1A2EC1-75F0-5004-A5FF-B3953CF88B7F}"/>
              </a:ext>
            </a:extLst>
          </p:cNvPr>
          <p:cNvSpPr>
            <a:spLocks/>
          </p:cNvSpPr>
          <p:nvPr/>
        </p:nvSpPr>
        <p:spPr bwMode="auto">
          <a:xfrm>
            <a:off x="680598" y="1468368"/>
            <a:ext cx="614363" cy="596161"/>
          </a:xfrm>
          <a:custGeom>
            <a:avLst/>
            <a:gdLst>
              <a:gd name="T0" fmla="*/ 798 w 1233"/>
              <a:gd name="T1" fmla="*/ 1168 h 1199"/>
              <a:gd name="T2" fmla="*/ 1066 w 1233"/>
              <a:gd name="T3" fmla="*/ 981 h 1199"/>
              <a:gd name="T4" fmla="*/ 1129 w 1233"/>
              <a:gd name="T5" fmla="*/ 351 h 1199"/>
              <a:gd name="T6" fmla="*/ 937 w 1233"/>
              <a:gd name="T7" fmla="*/ 143 h 1199"/>
              <a:gd name="T8" fmla="*/ 244 w 1233"/>
              <a:gd name="T9" fmla="*/ 202 h 1199"/>
              <a:gd name="T10" fmla="*/ 128 w 1233"/>
              <a:gd name="T11" fmla="*/ 896 h 1199"/>
              <a:gd name="T12" fmla="*/ 491 w 1233"/>
              <a:gd name="T13" fmla="*/ 1179 h 1199"/>
              <a:gd name="T14" fmla="*/ 798 w 1233"/>
              <a:gd name="T15" fmla="*/ 1168 h 1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33" h="1199">
                <a:moveTo>
                  <a:pt x="798" y="1168"/>
                </a:moveTo>
                <a:cubicBezTo>
                  <a:pt x="889" y="1139"/>
                  <a:pt x="1002" y="1061"/>
                  <a:pt x="1066" y="981"/>
                </a:cubicBezTo>
                <a:cubicBezTo>
                  <a:pt x="1209" y="804"/>
                  <a:pt x="1233" y="556"/>
                  <a:pt x="1129" y="351"/>
                </a:cubicBezTo>
                <a:cubicBezTo>
                  <a:pt x="1098" y="290"/>
                  <a:pt x="1004" y="189"/>
                  <a:pt x="937" y="143"/>
                </a:cubicBezTo>
                <a:cubicBezTo>
                  <a:pt x="725" y="0"/>
                  <a:pt x="437" y="24"/>
                  <a:pt x="244" y="202"/>
                </a:cubicBezTo>
                <a:cubicBezTo>
                  <a:pt x="47" y="383"/>
                  <a:pt x="0" y="662"/>
                  <a:pt x="128" y="896"/>
                </a:cubicBezTo>
                <a:cubicBezTo>
                  <a:pt x="197" y="1022"/>
                  <a:pt x="357" y="1148"/>
                  <a:pt x="491" y="1179"/>
                </a:cubicBezTo>
                <a:cubicBezTo>
                  <a:pt x="576" y="1199"/>
                  <a:pt x="711" y="1194"/>
                  <a:pt x="798" y="1168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500437">
              <a:defRPr/>
            </a:pPr>
            <a:r>
              <a:rPr lang="en-US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8" name="Shape0_20211123_123008">
            <a:extLst>
              <a:ext uri="{FF2B5EF4-FFF2-40B4-BE49-F238E27FC236}">
                <a16:creationId xmlns:a16="http://schemas.microsoft.com/office/drawing/2014/main" id="{C6801CA9-49DA-419A-59AB-5EB76A51D7C4}"/>
              </a:ext>
            </a:extLst>
          </p:cNvPr>
          <p:cNvSpPr txBox="1">
            <a:spLocks/>
          </p:cNvSpPr>
          <p:nvPr/>
        </p:nvSpPr>
        <p:spPr>
          <a:xfrm>
            <a:off x="1384662" y="2833360"/>
            <a:ext cx="6521879" cy="2492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750715">
              <a:lnSpc>
                <a:spcPct val="90000"/>
              </a:lnSpc>
              <a:buSzPct val="100000"/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5F94838-718C-2F01-B50E-146C2B984455}"/>
              </a:ext>
            </a:extLst>
          </p:cNvPr>
          <p:cNvSpPr/>
          <p:nvPr/>
        </p:nvSpPr>
        <p:spPr>
          <a:xfrm>
            <a:off x="685501" y="2660199"/>
            <a:ext cx="581538" cy="581536"/>
          </a:xfrm>
          <a:prstGeom prst="ellipse">
            <a:avLst/>
          </a:prstGeom>
          <a:solidFill>
            <a:schemeClr val="bg1"/>
          </a:solidFill>
        </p:spPr>
        <p:txBody>
          <a:bodyPr wrap="square" tIns="300022" bIns="300022" rtlCol="0" anchor="ctr" anchorCtr="0">
            <a:noAutofit/>
          </a:bodyPr>
          <a:lstStyle/>
          <a:p>
            <a:pPr algn="ctr" defTabSz="1500437">
              <a:lnSpc>
                <a:spcPct val="80000"/>
              </a:lnSpc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7688ABE1-5791-5550-697B-AF215B448D8B}"/>
              </a:ext>
            </a:extLst>
          </p:cNvPr>
          <p:cNvSpPr/>
          <p:nvPr/>
        </p:nvSpPr>
        <p:spPr>
          <a:xfrm>
            <a:off x="626323" y="2589820"/>
            <a:ext cx="722916" cy="722916"/>
          </a:xfrm>
          <a:prstGeom prst="blockArc">
            <a:avLst>
              <a:gd name="adj1" fmla="val 4671934"/>
              <a:gd name="adj2" fmla="val 18906429"/>
              <a:gd name="adj3" fmla="val 62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0437">
              <a:lnSpc>
                <a:spcPct val="90000"/>
              </a:lnSpc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1" name="Freeform 16">
            <a:extLst>
              <a:ext uri="{FF2B5EF4-FFF2-40B4-BE49-F238E27FC236}">
                <a16:creationId xmlns:a16="http://schemas.microsoft.com/office/drawing/2014/main" id="{F4BC5229-FE81-C01C-1D8C-A280E90F46AB}"/>
              </a:ext>
            </a:extLst>
          </p:cNvPr>
          <p:cNvSpPr>
            <a:spLocks/>
          </p:cNvSpPr>
          <p:nvPr/>
        </p:nvSpPr>
        <p:spPr bwMode="auto">
          <a:xfrm>
            <a:off x="680598" y="2653193"/>
            <a:ext cx="614363" cy="596161"/>
          </a:xfrm>
          <a:custGeom>
            <a:avLst/>
            <a:gdLst>
              <a:gd name="T0" fmla="*/ 798 w 1233"/>
              <a:gd name="T1" fmla="*/ 1168 h 1199"/>
              <a:gd name="T2" fmla="*/ 1066 w 1233"/>
              <a:gd name="T3" fmla="*/ 981 h 1199"/>
              <a:gd name="T4" fmla="*/ 1129 w 1233"/>
              <a:gd name="T5" fmla="*/ 351 h 1199"/>
              <a:gd name="T6" fmla="*/ 937 w 1233"/>
              <a:gd name="T7" fmla="*/ 143 h 1199"/>
              <a:gd name="T8" fmla="*/ 244 w 1233"/>
              <a:gd name="T9" fmla="*/ 202 h 1199"/>
              <a:gd name="T10" fmla="*/ 128 w 1233"/>
              <a:gd name="T11" fmla="*/ 896 h 1199"/>
              <a:gd name="T12" fmla="*/ 491 w 1233"/>
              <a:gd name="T13" fmla="*/ 1179 h 1199"/>
              <a:gd name="T14" fmla="*/ 798 w 1233"/>
              <a:gd name="T15" fmla="*/ 1168 h 1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33" h="1199">
                <a:moveTo>
                  <a:pt x="798" y="1168"/>
                </a:moveTo>
                <a:cubicBezTo>
                  <a:pt x="889" y="1139"/>
                  <a:pt x="1002" y="1061"/>
                  <a:pt x="1066" y="981"/>
                </a:cubicBezTo>
                <a:cubicBezTo>
                  <a:pt x="1209" y="804"/>
                  <a:pt x="1233" y="556"/>
                  <a:pt x="1129" y="351"/>
                </a:cubicBezTo>
                <a:cubicBezTo>
                  <a:pt x="1098" y="290"/>
                  <a:pt x="1004" y="189"/>
                  <a:pt x="937" y="143"/>
                </a:cubicBezTo>
                <a:cubicBezTo>
                  <a:pt x="725" y="0"/>
                  <a:pt x="437" y="24"/>
                  <a:pt x="244" y="202"/>
                </a:cubicBezTo>
                <a:cubicBezTo>
                  <a:pt x="47" y="383"/>
                  <a:pt x="0" y="662"/>
                  <a:pt x="128" y="896"/>
                </a:cubicBezTo>
                <a:cubicBezTo>
                  <a:pt x="197" y="1022"/>
                  <a:pt x="357" y="1148"/>
                  <a:pt x="491" y="1179"/>
                </a:cubicBezTo>
                <a:cubicBezTo>
                  <a:pt x="576" y="1199"/>
                  <a:pt x="711" y="1194"/>
                  <a:pt x="798" y="116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500437">
              <a:defRPr/>
            </a:pPr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2" name="Shape2_20211123_123008">
            <a:extLst>
              <a:ext uri="{FF2B5EF4-FFF2-40B4-BE49-F238E27FC236}">
                <a16:creationId xmlns:a16="http://schemas.microsoft.com/office/drawing/2014/main" id="{C763C049-E335-6E03-5904-465DEE1F4D39}"/>
              </a:ext>
            </a:extLst>
          </p:cNvPr>
          <p:cNvSpPr txBox="1">
            <a:spLocks/>
          </p:cNvSpPr>
          <p:nvPr/>
        </p:nvSpPr>
        <p:spPr>
          <a:xfrm>
            <a:off x="1384662" y="4018186"/>
            <a:ext cx="6521879" cy="2492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750715">
              <a:lnSpc>
                <a:spcPct val="90000"/>
              </a:lnSpc>
              <a:buSzPct val="100000"/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CA20D2E-9E73-9085-6538-F7DD4A544136}"/>
              </a:ext>
            </a:extLst>
          </p:cNvPr>
          <p:cNvSpPr/>
          <p:nvPr/>
        </p:nvSpPr>
        <p:spPr>
          <a:xfrm>
            <a:off x="685501" y="3845023"/>
            <a:ext cx="581538" cy="581536"/>
          </a:xfrm>
          <a:prstGeom prst="ellipse">
            <a:avLst/>
          </a:prstGeom>
          <a:solidFill>
            <a:schemeClr val="bg1"/>
          </a:solidFill>
        </p:spPr>
        <p:txBody>
          <a:bodyPr wrap="square" tIns="300022" bIns="300022" rtlCol="0" anchor="ctr" anchorCtr="0">
            <a:noAutofit/>
          </a:bodyPr>
          <a:lstStyle/>
          <a:p>
            <a:pPr algn="ctr" defTabSz="1500437">
              <a:lnSpc>
                <a:spcPct val="80000"/>
              </a:lnSpc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4" name="Block Arc 13">
            <a:extLst>
              <a:ext uri="{FF2B5EF4-FFF2-40B4-BE49-F238E27FC236}">
                <a16:creationId xmlns:a16="http://schemas.microsoft.com/office/drawing/2014/main" id="{04D60F8E-6C35-5AB6-CEBD-B3B5504D3297}"/>
              </a:ext>
            </a:extLst>
          </p:cNvPr>
          <p:cNvSpPr/>
          <p:nvPr/>
        </p:nvSpPr>
        <p:spPr>
          <a:xfrm>
            <a:off x="626323" y="3774643"/>
            <a:ext cx="722916" cy="722916"/>
          </a:xfrm>
          <a:prstGeom prst="blockArc">
            <a:avLst>
              <a:gd name="adj1" fmla="val 4671934"/>
              <a:gd name="adj2" fmla="val 18906429"/>
              <a:gd name="adj3" fmla="val 62"/>
            </a:avLst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0437">
              <a:lnSpc>
                <a:spcPct val="90000"/>
              </a:lnSpc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5" name="Freeform 16">
            <a:extLst>
              <a:ext uri="{FF2B5EF4-FFF2-40B4-BE49-F238E27FC236}">
                <a16:creationId xmlns:a16="http://schemas.microsoft.com/office/drawing/2014/main" id="{D05C08A5-8F42-F431-02B0-5651D89663B5}"/>
              </a:ext>
            </a:extLst>
          </p:cNvPr>
          <p:cNvSpPr>
            <a:spLocks/>
          </p:cNvSpPr>
          <p:nvPr/>
        </p:nvSpPr>
        <p:spPr bwMode="auto">
          <a:xfrm>
            <a:off x="680598" y="3838021"/>
            <a:ext cx="614363" cy="596161"/>
          </a:xfrm>
          <a:custGeom>
            <a:avLst/>
            <a:gdLst>
              <a:gd name="T0" fmla="*/ 798 w 1233"/>
              <a:gd name="T1" fmla="*/ 1168 h 1199"/>
              <a:gd name="T2" fmla="*/ 1066 w 1233"/>
              <a:gd name="T3" fmla="*/ 981 h 1199"/>
              <a:gd name="T4" fmla="*/ 1129 w 1233"/>
              <a:gd name="T5" fmla="*/ 351 h 1199"/>
              <a:gd name="T6" fmla="*/ 937 w 1233"/>
              <a:gd name="T7" fmla="*/ 143 h 1199"/>
              <a:gd name="T8" fmla="*/ 244 w 1233"/>
              <a:gd name="T9" fmla="*/ 202 h 1199"/>
              <a:gd name="T10" fmla="*/ 128 w 1233"/>
              <a:gd name="T11" fmla="*/ 896 h 1199"/>
              <a:gd name="T12" fmla="*/ 491 w 1233"/>
              <a:gd name="T13" fmla="*/ 1179 h 1199"/>
              <a:gd name="T14" fmla="*/ 798 w 1233"/>
              <a:gd name="T15" fmla="*/ 1168 h 1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33" h="1199">
                <a:moveTo>
                  <a:pt x="798" y="1168"/>
                </a:moveTo>
                <a:cubicBezTo>
                  <a:pt x="889" y="1139"/>
                  <a:pt x="1002" y="1061"/>
                  <a:pt x="1066" y="981"/>
                </a:cubicBezTo>
                <a:cubicBezTo>
                  <a:pt x="1209" y="804"/>
                  <a:pt x="1233" y="556"/>
                  <a:pt x="1129" y="351"/>
                </a:cubicBezTo>
                <a:cubicBezTo>
                  <a:pt x="1098" y="290"/>
                  <a:pt x="1004" y="189"/>
                  <a:pt x="937" y="143"/>
                </a:cubicBezTo>
                <a:cubicBezTo>
                  <a:pt x="725" y="0"/>
                  <a:pt x="437" y="24"/>
                  <a:pt x="244" y="202"/>
                </a:cubicBezTo>
                <a:cubicBezTo>
                  <a:pt x="47" y="383"/>
                  <a:pt x="0" y="662"/>
                  <a:pt x="128" y="896"/>
                </a:cubicBezTo>
                <a:cubicBezTo>
                  <a:pt x="197" y="1022"/>
                  <a:pt x="357" y="1148"/>
                  <a:pt x="491" y="1179"/>
                </a:cubicBezTo>
                <a:cubicBezTo>
                  <a:pt x="576" y="1199"/>
                  <a:pt x="711" y="1194"/>
                  <a:pt x="798" y="116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500437">
              <a:defRPr/>
            </a:pPr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6" name="Shape3_20211123_123008">
            <a:extLst>
              <a:ext uri="{FF2B5EF4-FFF2-40B4-BE49-F238E27FC236}">
                <a16:creationId xmlns:a16="http://schemas.microsoft.com/office/drawing/2014/main" id="{F76C3929-1210-61AA-621A-7D9DA830F0FD}"/>
              </a:ext>
            </a:extLst>
          </p:cNvPr>
          <p:cNvSpPr txBox="1">
            <a:spLocks/>
          </p:cNvSpPr>
          <p:nvPr/>
        </p:nvSpPr>
        <p:spPr>
          <a:xfrm>
            <a:off x="1384662" y="5203012"/>
            <a:ext cx="6521879" cy="2492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750715">
              <a:lnSpc>
                <a:spcPct val="90000"/>
              </a:lnSpc>
              <a:buSzPct val="100000"/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9054B68-52C2-F789-60D8-8C87568DA599}"/>
              </a:ext>
            </a:extLst>
          </p:cNvPr>
          <p:cNvSpPr/>
          <p:nvPr/>
        </p:nvSpPr>
        <p:spPr>
          <a:xfrm>
            <a:off x="685501" y="5029845"/>
            <a:ext cx="581538" cy="581536"/>
          </a:xfrm>
          <a:prstGeom prst="ellipse">
            <a:avLst/>
          </a:prstGeom>
          <a:solidFill>
            <a:schemeClr val="bg1"/>
          </a:solidFill>
        </p:spPr>
        <p:txBody>
          <a:bodyPr wrap="square" tIns="300022" bIns="300022" rtlCol="0" anchor="ctr" anchorCtr="0">
            <a:noAutofit/>
          </a:bodyPr>
          <a:lstStyle/>
          <a:p>
            <a:pPr algn="ctr" defTabSz="1500437">
              <a:lnSpc>
                <a:spcPct val="80000"/>
              </a:lnSpc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8" name="Block Arc 17">
            <a:extLst>
              <a:ext uri="{FF2B5EF4-FFF2-40B4-BE49-F238E27FC236}">
                <a16:creationId xmlns:a16="http://schemas.microsoft.com/office/drawing/2014/main" id="{08886826-2831-1B15-3ABF-263A59FF604F}"/>
              </a:ext>
            </a:extLst>
          </p:cNvPr>
          <p:cNvSpPr/>
          <p:nvPr/>
        </p:nvSpPr>
        <p:spPr>
          <a:xfrm>
            <a:off x="626323" y="4959466"/>
            <a:ext cx="722916" cy="722916"/>
          </a:xfrm>
          <a:prstGeom prst="blockArc">
            <a:avLst>
              <a:gd name="adj1" fmla="val 4671934"/>
              <a:gd name="adj2" fmla="val 18906429"/>
              <a:gd name="adj3" fmla="val 62"/>
            </a:avLst>
          </a:prstGeom>
          <a:solidFill>
            <a:schemeClr val="bg1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0437">
              <a:lnSpc>
                <a:spcPct val="90000"/>
              </a:lnSpc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9" name="Freeform 16">
            <a:extLst>
              <a:ext uri="{FF2B5EF4-FFF2-40B4-BE49-F238E27FC236}">
                <a16:creationId xmlns:a16="http://schemas.microsoft.com/office/drawing/2014/main" id="{B0622051-167D-861F-98FE-390CFBC7548F}"/>
              </a:ext>
            </a:extLst>
          </p:cNvPr>
          <p:cNvSpPr>
            <a:spLocks/>
          </p:cNvSpPr>
          <p:nvPr/>
        </p:nvSpPr>
        <p:spPr bwMode="auto">
          <a:xfrm>
            <a:off x="680598" y="5022843"/>
            <a:ext cx="614363" cy="596161"/>
          </a:xfrm>
          <a:custGeom>
            <a:avLst/>
            <a:gdLst>
              <a:gd name="T0" fmla="*/ 798 w 1233"/>
              <a:gd name="T1" fmla="*/ 1168 h 1199"/>
              <a:gd name="T2" fmla="*/ 1066 w 1233"/>
              <a:gd name="T3" fmla="*/ 981 h 1199"/>
              <a:gd name="T4" fmla="*/ 1129 w 1233"/>
              <a:gd name="T5" fmla="*/ 351 h 1199"/>
              <a:gd name="T6" fmla="*/ 937 w 1233"/>
              <a:gd name="T7" fmla="*/ 143 h 1199"/>
              <a:gd name="T8" fmla="*/ 244 w 1233"/>
              <a:gd name="T9" fmla="*/ 202 h 1199"/>
              <a:gd name="T10" fmla="*/ 128 w 1233"/>
              <a:gd name="T11" fmla="*/ 896 h 1199"/>
              <a:gd name="T12" fmla="*/ 491 w 1233"/>
              <a:gd name="T13" fmla="*/ 1179 h 1199"/>
              <a:gd name="T14" fmla="*/ 798 w 1233"/>
              <a:gd name="T15" fmla="*/ 1168 h 1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33" h="1199">
                <a:moveTo>
                  <a:pt x="798" y="1168"/>
                </a:moveTo>
                <a:cubicBezTo>
                  <a:pt x="889" y="1139"/>
                  <a:pt x="1002" y="1061"/>
                  <a:pt x="1066" y="981"/>
                </a:cubicBezTo>
                <a:cubicBezTo>
                  <a:pt x="1209" y="804"/>
                  <a:pt x="1233" y="556"/>
                  <a:pt x="1129" y="351"/>
                </a:cubicBezTo>
                <a:cubicBezTo>
                  <a:pt x="1098" y="290"/>
                  <a:pt x="1004" y="189"/>
                  <a:pt x="937" y="143"/>
                </a:cubicBezTo>
                <a:cubicBezTo>
                  <a:pt x="725" y="0"/>
                  <a:pt x="437" y="24"/>
                  <a:pt x="244" y="202"/>
                </a:cubicBezTo>
                <a:cubicBezTo>
                  <a:pt x="47" y="383"/>
                  <a:pt x="0" y="662"/>
                  <a:pt x="128" y="896"/>
                </a:cubicBezTo>
                <a:cubicBezTo>
                  <a:pt x="197" y="1022"/>
                  <a:pt x="357" y="1148"/>
                  <a:pt x="491" y="1179"/>
                </a:cubicBezTo>
                <a:cubicBezTo>
                  <a:pt x="576" y="1199"/>
                  <a:pt x="711" y="1194"/>
                  <a:pt x="798" y="1168"/>
                </a:cubicBez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500437">
              <a:defRPr/>
            </a:pPr>
            <a:r>
              <a:rPr lang="en-US" b="1" dirty="0">
                <a:solidFill>
                  <a:schemeClr val="bg1"/>
                </a:solidFill>
              </a:rPr>
              <a:t>04</a:t>
            </a:r>
          </a:p>
        </p:txBody>
      </p:sp>
      <p:cxnSp>
        <p:nvCxnSpPr>
          <p:cNvPr id="20" name="Shape0_20221011_163854">
            <a:extLst>
              <a:ext uri="{FF2B5EF4-FFF2-40B4-BE49-F238E27FC236}">
                <a16:creationId xmlns:a16="http://schemas.microsoft.com/office/drawing/2014/main" id="{56A19E63-B2DE-3772-CDE1-A3973C7B4B0F}"/>
              </a:ext>
            </a:extLst>
          </p:cNvPr>
          <p:cNvCxnSpPr>
            <a:cxnSpLocks/>
          </p:cNvCxnSpPr>
          <p:nvPr/>
        </p:nvCxnSpPr>
        <p:spPr>
          <a:xfrm>
            <a:off x="1239081" y="1508913"/>
            <a:ext cx="5842910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1"/>
            </a:solidFill>
            <a:tailEnd type="diamon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2A4DD77-77D4-1C47-9390-50A0C16D5428}"/>
              </a:ext>
            </a:extLst>
          </p:cNvPr>
          <p:cNvCxnSpPr>
            <a:cxnSpLocks/>
          </p:cNvCxnSpPr>
          <p:nvPr/>
        </p:nvCxnSpPr>
        <p:spPr>
          <a:xfrm>
            <a:off x="1239081" y="2693738"/>
            <a:ext cx="5842910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2"/>
            </a:solidFill>
            <a:tailEnd type="diamon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8D04776-1870-D0E9-FCD2-F33C0DFDA558}"/>
              </a:ext>
            </a:extLst>
          </p:cNvPr>
          <p:cNvCxnSpPr>
            <a:cxnSpLocks/>
          </p:cNvCxnSpPr>
          <p:nvPr/>
        </p:nvCxnSpPr>
        <p:spPr>
          <a:xfrm>
            <a:off x="1239081" y="3878564"/>
            <a:ext cx="5842910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3"/>
            </a:solidFill>
            <a:tailEnd type="diamon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DC06690-E29E-6695-3375-E7DCDFA75575}"/>
              </a:ext>
            </a:extLst>
          </p:cNvPr>
          <p:cNvCxnSpPr>
            <a:cxnSpLocks/>
          </p:cNvCxnSpPr>
          <p:nvPr/>
        </p:nvCxnSpPr>
        <p:spPr>
          <a:xfrm>
            <a:off x="1239081" y="5063388"/>
            <a:ext cx="5842910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4"/>
            </a:solidFill>
            <a:tailEnd type="diamon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907ED8F-C9ED-BCD0-7F1A-F7606B4E6D4F}"/>
              </a:ext>
            </a:extLst>
          </p:cNvPr>
          <p:cNvGrpSpPr/>
          <p:nvPr/>
        </p:nvGrpSpPr>
        <p:grpSpPr>
          <a:xfrm>
            <a:off x="8052931" y="2082560"/>
            <a:ext cx="2980830" cy="2980829"/>
            <a:chOff x="8477305" y="2232205"/>
            <a:chExt cx="3102080" cy="3102078"/>
          </a:xfrm>
        </p:grpSpPr>
        <p:sp>
          <p:nvSpPr>
            <p:cNvPr id="25" name="Arc 24">
              <a:extLst>
                <a:ext uri="{FF2B5EF4-FFF2-40B4-BE49-F238E27FC236}">
                  <a16:creationId xmlns:a16="http://schemas.microsoft.com/office/drawing/2014/main" id="{B6A2F75C-832D-C3AC-2212-D5272ECFD8F0}"/>
                </a:ext>
              </a:extLst>
            </p:cNvPr>
            <p:cNvSpPr/>
            <p:nvPr/>
          </p:nvSpPr>
          <p:spPr>
            <a:xfrm>
              <a:off x="8477305" y="2232205"/>
              <a:ext cx="3102077" cy="3102078"/>
            </a:xfrm>
            <a:prstGeom prst="arc">
              <a:avLst>
                <a:gd name="adj1" fmla="val 12236924"/>
                <a:gd name="adj2" fmla="val 20091912"/>
              </a:avLst>
            </a:prstGeom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26" name="Arc 25">
              <a:extLst>
                <a:ext uri="{FF2B5EF4-FFF2-40B4-BE49-F238E27FC236}">
                  <a16:creationId xmlns:a16="http://schemas.microsoft.com/office/drawing/2014/main" id="{3C785DAB-A972-3720-D67E-4F7E4DD9F0B9}"/>
                </a:ext>
              </a:extLst>
            </p:cNvPr>
            <p:cNvSpPr/>
            <p:nvPr/>
          </p:nvSpPr>
          <p:spPr>
            <a:xfrm>
              <a:off x="8477306" y="2232205"/>
              <a:ext cx="3102079" cy="3102078"/>
            </a:xfrm>
            <a:prstGeom prst="arc">
              <a:avLst>
                <a:gd name="adj1" fmla="val 20947669"/>
                <a:gd name="adj2" fmla="val 4168876"/>
              </a:avLst>
            </a:prstGeom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27" name="Arc 26">
              <a:extLst>
                <a:ext uri="{FF2B5EF4-FFF2-40B4-BE49-F238E27FC236}">
                  <a16:creationId xmlns:a16="http://schemas.microsoft.com/office/drawing/2014/main" id="{6681E065-378F-92B4-C4C8-B8822B1758F8}"/>
                </a:ext>
              </a:extLst>
            </p:cNvPr>
            <p:cNvSpPr/>
            <p:nvPr/>
          </p:nvSpPr>
          <p:spPr>
            <a:xfrm>
              <a:off x="8477305" y="2232205"/>
              <a:ext cx="3102077" cy="3102078"/>
            </a:xfrm>
            <a:prstGeom prst="arc">
              <a:avLst>
                <a:gd name="adj1" fmla="val 4740219"/>
                <a:gd name="adj2" fmla="val 11688552"/>
              </a:avLst>
            </a:prstGeom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29" name="Shape8_20220502_101224">
              <a:extLst>
                <a:ext uri="{FF2B5EF4-FFF2-40B4-BE49-F238E27FC236}">
                  <a16:creationId xmlns:a16="http://schemas.microsoft.com/office/drawing/2014/main" id="{7A5830D4-91AE-A74C-CED4-F7013D27CC36}"/>
                </a:ext>
              </a:extLst>
            </p:cNvPr>
            <p:cNvSpPr/>
            <p:nvPr/>
          </p:nvSpPr>
          <p:spPr>
            <a:xfrm>
              <a:off x="9199551" y="2566156"/>
              <a:ext cx="1607766" cy="2288314"/>
            </a:xfrm>
            <a:custGeom>
              <a:avLst/>
              <a:gdLst>
                <a:gd name="connsiteX0" fmla="*/ 2227326 w 2286476"/>
                <a:gd name="connsiteY0" fmla="*/ 331565 h 3254311"/>
                <a:gd name="connsiteX1" fmla="*/ 1766888 w 2286476"/>
                <a:gd name="connsiteY1" fmla="*/ 331565 h 3254311"/>
                <a:gd name="connsiteX2" fmla="*/ 1766888 w 2286476"/>
                <a:gd name="connsiteY2" fmla="*/ 235553 h 3254311"/>
                <a:gd name="connsiteX3" fmla="*/ 1700498 w 2286476"/>
                <a:gd name="connsiteY3" fmla="*/ 169069 h 3254311"/>
                <a:gd name="connsiteX4" fmla="*/ 1369409 w 2286476"/>
                <a:gd name="connsiteY4" fmla="*/ 168974 h 3254311"/>
                <a:gd name="connsiteX5" fmla="*/ 1305782 w 2286476"/>
                <a:gd name="connsiteY5" fmla="*/ 121158 h 3254311"/>
                <a:gd name="connsiteX6" fmla="*/ 1143286 w 2286476"/>
                <a:gd name="connsiteY6" fmla="*/ 0 h 3254311"/>
                <a:gd name="connsiteX7" fmla="*/ 980789 w 2286476"/>
                <a:gd name="connsiteY7" fmla="*/ 121063 h 3254311"/>
                <a:gd name="connsiteX8" fmla="*/ 917162 w 2286476"/>
                <a:gd name="connsiteY8" fmla="*/ 168878 h 3254311"/>
                <a:gd name="connsiteX9" fmla="*/ 586169 w 2286476"/>
                <a:gd name="connsiteY9" fmla="*/ 168783 h 3254311"/>
                <a:gd name="connsiteX10" fmla="*/ 519684 w 2286476"/>
                <a:gd name="connsiteY10" fmla="*/ 235268 h 3254311"/>
                <a:gd name="connsiteX11" fmla="*/ 519684 w 2286476"/>
                <a:gd name="connsiteY11" fmla="*/ 331565 h 3254311"/>
                <a:gd name="connsiteX12" fmla="*/ 59150 w 2286476"/>
                <a:gd name="connsiteY12" fmla="*/ 331565 h 3254311"/>
                <a:gd name="connsiteX13" fmla="*/ 0 w 2286476"/>
                <a:gd name="connsiteY13" fmla="*/ 390715 h 3254311"/>
                <a:gd name="connsiteX14" fmla="*/ 0 w 2286476"/>
                <a:gd name="connsiteY14" fmla="*/ 3195161 h 3254311"/>
                <a:gd name="connsiteX15" fmla="*/ 59150 w 2286476"/>
                <a:gd name="connsiteY15" fmla="*/ 3254312 h 3254311"/>
                <a:gd name="connsiteX16" fmla="*/ 2227326 w 2286476"/>
                <a:gd name="connsiteY16" fmla="*/ 3254312 h 3254311"/>
                <a:gd name="connsiteX17" fmla="*/ 2286476 w 2286476"/>
                <a:gd name="connsiteY17" fmla="*/ 3195161 h 3254311"/>
                <a:gd name="connsiteX18" fmla="*/ 2286476 w 2286476"/>
                <a:gd name="connsiteY18" fmla="*/ 390715 h 3254311"/>
                <a:gd name="connsiteX19" fmla="*/ 2227326 w 2286476"/>
                <a:gd name="connsiteY19" fmla="*/ 331565 h 3254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86476" h="3254311">
                  <a:moveTo>
                    <a:pt x="2227326" y="331565"/>
                  </a:moveTo>
                  <a:lnTo>
                    <a:pt x="1766888" y="331565"/>
                  </a:lnTo>
                  <a:lnTo>
                    <a:pt x="1766888" y="235553"/>
                  </a:lnTo>
                  <a:cubicBezTo>
                    <a:pt x="1766888" y="198882"/>
                    <a:pt x="1737170" y="169069"/>
                    <a:pt x="1700498" y="169069"/>
                  </a:cubicBezTo>
                  <a:lnTo>
                    <a:pt x="1369409" y="168974"/>
                  </a:lnTo>
                  <a:cubicBezTo>
                    <a:pt x="1339882" y="168974"/>
                    <a:pt x="1314164" y="149447"/>
                    <a:pt x="1305782" y="121158"/>
                  </a:cubicBezTo>
                  <a:cubicBezTo>
                    <a:pt x="1284923" y="51149"/>
                    <a:pt x="1220153" y="0"/>
                    <a:pt x="1143286" y="0"/>
                  </a:cubicBezTo>
                  <a:cubicBezTo>
                    <a:pt x="1066514" y="0"/>
                    <a:pt x="1001649" y="50959"/>
                    <a:pt x="980789" y="121063"/>
                  </a:cubicBezTo>
                  <a:cubicBezTo>
                    <a:pt x="972407" y="149352"/>
                    <a:pt x="946595" y="168878"/>
                    <a:pt x="917162" y="168878"/>
                  </a:cubicBezTo>
                  <a:lnTo>
                    <a:pt x="586169" y="168783"/>
                  </a:lnTo>
                  <a:cubicBezTo>
                    <a:pt x="549497" y="168783"/>
                    <a:pt x="519684" y="198501"/>
                    <a:pt x="519684" y="235268"/>
                  </a:cubicBezTo>
                  <a:lnTo>
                    <a:pt x="519684" y="331565"/>
                  </a:lnTo>
                  <a:lnTo>
                    <a:pt x="59150" y="331565"/>
                  </a:lnTo>
                  <a:cubicBezTo>
                    <a:pt x="26480" y="331565"/>
                    <a:pt x="0" y="358045"/>
                    <a:pt x="0" y="390715"/>
                  </a:cubicBezTo>
                  <a:lnTo>
                    <a:pt x="0" y="3195161"/>
                  </a:lnTo>
                  <a:cubicBezTo>
                    <a:pt x="0" y="3227832"/>
                    <a:pt x="26480" y="3254312"/>
                    <a:pt x="59150" y="3254312"/>
                  </a:cubicBezTo>
                  <a:lnTo>
                    <a:pt x="2227326" y="3254312"/>
                  </a:lnTo>
                  <a:cubicBezTo>
                    <a:pt x="2259997" y="3254312"/>
                    <a:pt x="2286476" y="3227832"/>
                    <a:pt x="2286476" y="3195161"/>
                  </a:cubicBezTo>
                  <a:lnTo>
                    <a:pt x="2286476" y="390715"/>
                  </a:lnTo>
                  <a:cubicBezTo>
                    <a:pt x="2286476" y="358140"/>
                    <a:pt x="2259997" y="331565"/>
                    <a:pt x="2227326" y="331565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0" name="Shape9_20220502_101224">
              <a:extLst>
                <a:ext uri="{FF2B5EF4-FFF2-40B4-BE49-F238E27FC236}">
                  <a16:creationId xmlns:a16="http://schemas.microsoft.com/office/drawing/2014/main" id="{9E64971E-4EB5-5C07-FD04-F2F64CC3F864}"/>
                </a:ext>
              </a:extLst>
            </p:cNvPr>
            <p:cNvSpPr/>
            <p:nvPr/>
          </p:nvSpPr>
          <p:spPr>
            <a:xfrm>
              <a:off x="9163378" y="2763135"/>
              <a:ext cx="1607766" cy="2055170"/>
            </a:xfrm>
            <a:custGeom>
              <a:avLst/>
              <a:gdLst>
                <a:gd name="connsiteX0" fmla="*/ 2286476 w 2286476"/>
                <a:gd name="connsiteY0" fmla="*/ 2863596 h 2922746"/>
                <a:gd name="connsiteX1" fmla="*/ 2227326 w 2286476"/>
                <a:gd name="connsiteY1" fmla="*/ 2922746 h 2922746"/>
                <a:gd name="connsiteX2" fmla="*/ 59055 w 2286476"/>
                <a:gd name="connsiteY2" fmla="*/ 2922746 h 2922746"/>
                <a:gd name="connsiteX3" fmla="*/ 0 w 2286476"/>
                <a:gd name="connsiteY3" fmla="*/ 2863596 h 2922746"/>
                <a:gd name="connsiteX4" fmla="*/ 0 w 2286476"/>
                <a:gd name="connsiteY4" fmla="*/ 59150 h 2922746"/>
                <a:gd name="connsiteX5" fmla="*/ 59055 w 2286476"/>
                <a:gd name="connsiteY5" fmla="*/ 0 h 2922746"/>
                <a:gd name="connsiteX6" fmla="*/ 2227326 w 2286476"/>
                <a:gd name="connsiteY6" fmla="*/ 0 h 2922746"/>
                <a:gd name="connsiteX7" fmla="*/ 2286476 w 2286476"/>
                <a:gd name="connsiteY7" fmla="*/ 59150 h 2922746"/>
                <a:gd name="connsiteX8" fmla="*/ 2286476 w 2286476"/>
                <a:gd name="connsiteY8" fmla="*/ 2863596 h 2922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86476" h="2922746">
                  <a:moveTo>
                    <a:pt x="2286476" y="2863596"/>
                  </a:moveTo>
                  <a:cubicBezTo>
                    <a:pt x="2286476" y="2896267"/>
                    <a:pt x="2259997" y="2922746"/>
                    <a:pt x="2227326" y="2922746"/>
                  </a:cubicBezTo>
                  <a:lnTo>
                    <a:pt x="59055" y="2922746"/>
                  </a:lnTo>
                  <a:cubicBezTo>
                    <a:pt x="26384" y="2922746"/>
                    <a:pt x="0" y="2896267"/>
                    <a:pt x="0" y="2863596"/>
                  </a:cubicBezTo>
                  <a:lnTo>
                    <a:pt x="0" y="59150"/>
                  </a:lnTo>
                  <a:cubicBezTo>
                    <a:pt x="0" y="26479"/>
                    <a:pt x="26480" y="0"/>
                    <a:pt x="59055" y="0"/>
                  </a:cubicBezTo>
                  <a:lnTo>
                    <a:pt x="2227326" y="0"/>
                  </a:lnTo>
                  <a:cubicBezTo>
                    <a:pt x="2259997" y="0"/>
                    <a:pt x="2286476" y="26479"/>
                    <a:pt x="2286476" y="59150"/>
                  </a:cubicBezTo>
                  <a:lnTo>
                    <a:pt x="2286476" y="286359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1" name="Shape10_20220502_101224">
              <a:extLst>
                <a:ext uri="{FF2B5EF4-FFF2-40B4-BE49-F238E27FC236}">
                  <a16:creationId xmlns:a16="http://schemas.microsoft.com/office/drawing/2014/main" id="{2CFB25C1-E6A3-0B5C-B49C-81B9F5F4A86D}"/>
                </a:ext>
              </a:extLst>
            </p:cNvPr>
            <p:cNvSpPr/>
            <p:nvPr/>
          </p:nvSpPr>
          <p:spPr>
            <a:xfrm>
              <a:off x="9246498" y="2846320"/>
              <a:ext cx="1441462" cy="1888734"/>
            </a:xfrm>
            <a:custGeom>
              <a:avLst/>
              <a:gdLst>
                <a:gd name="connsiteX0" fmla="*/ 0 w 2049970"/>
                <a:gd name="connsiteY0" fmla="*/ 0 h 2686050"/>
                <a:gd name="connsiteX1" fmla="*/ 2049971 w 2049970"/>
                <a:gd name="connsiteY1" fmla="*/ 0 h 2686050"/>
                <a:gd name="connsiteX2" fmla="*/ 2049971 w 2049970"/>
                <a:gd name="connsiteY2" fmla="*/ 2686050 h 2686050"/>
                <a:gd name="connsiteX3" fmla="*/ 0 w 2049970"/>
                <a:gd name="connsiteY3" fmla="*/ 2686050 h 268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49970" h="2686050">
                  <a:moveTo>
                    <a:pt x="0" y="0"/>
                  </a:moveTo>
                  <a:lnTo>
                    <a:pt x="2049971" y="0"/>
                  </a:lnTo>
                  <a:lnTo>
                    <a:pt x="2049971" y="2686050"/>
                  </a:lnTo>
                  <a:lnTo>
                    <a:pt x="0" y="26860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2" name="Shape0_20220502_101254">
              <a:extLst>
                <a:ext uri="{FF2B5EF4-FFF2-40B4-BE49-F238E27FC236}">
                  <a16:creationId xmlns:a16="http://schemas.microsoft.com/office/drawing/2014/main" id="{9897F031-4894-9C9D-EB0A-7BD2283E00D5}"/>
                </a:ext>
              </a:extLst>
            </p:cNvPr>
            <p:cNvSpPr/>
            <p:nvPr/>
          </p:nvSpPr>
          <p:spPr>
            <a:xfrm>
              <a:off x="9528804" y="2529989"/>
              <a:ext cx="877055" cy="386588"/>
            </a:xfrm>
            <a:custGeom>
              <a:avLst/>
              <a:gdLst>
                <a:gd name="connsiteX0" fmla="*/ 849725 w 1247298"/>
                <a:gd name="connsiteY0" fmla="*/ 168974 h 549783"/>
                <a:gd name="connsiteX1" fmla="*/ 786098 w 1247298"/>
                <a:gd name="connsiteY1" fmla="*/ 121158 h 549783"/>
                <a:gd name="connsiteX2" fmla="*/ 623602 w 1247298"/>
                <a:gd name="connsiteY2" fmla="*/ 0 h 549783"/>
                <a:gd name="connsiteX3" fmla="*/ 461105 w 1247298"/>
                <a:gd name="connsiteY3" fmla="*/ 121063 h 549783"/>
                <a:gd name="connsiteX4" fmla="*/ 397478 w 1247298"/>
                <a:gd name="connsiteY4" fmla="*/ 168878 h 549783"/>
                <a:gd name="connsiteX5" fmla="*/ 66484 w 1247298"/>
                <a:gd name="connsiteY5" fmla="*/ 168783 h 549783"/>
                <a:gd name="connsiteX6" fmla="*/ 0 w 1247298"/>
                <a:gd name="connsiteY6" fmla="*/ 235268 h 549783"/>
                <a:gd name="connsiteX7" fmla="*/ 0 w 1247298"/>
                <a:gd name="connsiteY7" fmla="*/ 483108 h 549783"/>
                <a:gd name="connsiteX8" fmla="*/ 66484 w 1247298"/>
                <a:gd name="connsiteY8" fmla="*/ 549593 h 549783"/>
                <a:gd name="connsiteX9" fmla="*/ 1180814 w 1247298"/>
                <a:gd name="connsiteY9" fmla="*/ 549783 h 549783"/>
                <a:gd name="connsiteX10" fmla="*/ 1247299 w 1247298"/>
                <a:gd name="connsiteY10" fmla="*/ 483299 h 549783"/>
                <a:gd name="connsiteX11" fmla="*/ 1247299 w 1247298"/>
                <a:gd name="connsiteY11" fmla="*/ 235458 h 549783"/>
                <a:gd name="connsiteX12" fmla="*/ 1180909 w 1247298"/>
                <a:gd name="connsiteY12" fmla="*/ 168974 h 549783"/>
                <a:gd name="connsiteX13" fmla="*/ 849725 w 1247298"/>
                <a:gd name="connsiteY13" fmla="*/ 168974 h 549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47298" h="549783">
                  <a:moveTo>
                    <a:pt x="849725" y="168974"/>
                  </a:moveTo>
                  <a:cubicBezTo>
                    <a:pt x="820198" y="168974"/>
                    <a:pt x="794480" y="149447"/>
                    <a:pt x="786098" y="121158"/>
                  </a:cubicBezTo>
                  <a:cubicBezTo>
                    <a:pt x="765238" y="51054"/>
                    <a:pt x="700373" y="0"/>
                    <a:pt x="623602" y="0"/>
                  </a:cubicBezTo>
                  <a:cubicBezTo>
                    <a:pt x="546830" y="0"/>
                    <a:pt x="481965" y="50959"/>
                    <a:pt x="461105" y="121063"/>
                  </a:cubicBezTo>
                  <a:cubicBezTo>
                    <a:pt x="452723" y="149352"/>
                    <a:pt x="426910" y="168878"/>
                    <a:pt x="397478" y="168878"/>
                  </a:cubicBezTo>
                  <a:lnTo>
                    <a:pt x="66484" y="168783"/>
                  </a:lnTo>
                  <a:cubicBezTo>
                    <a:pt x="29813" y="168783"/>
                    <a:pt x="0" y="198501"/>
                    <a:pt x="0" y="235268"/>
                  </a:cubicBezTo>
                  <a:lnTo>
                    <a:pt x="0" y="483108"/>
                  </a:lnTo>
                  <a:cubicBezTo>
                    <a:pt x="0" y="519779"/>
                    <a:pt x="29718" y="549593"/>
                    <a:pt x="66484" y="549593"/>
                  </a:cubicBezTo>
                  <a:lnTo>
                    <a:pt x="1180814" y="549783"/>
                  </a:lnTo>
                  <a:cubicBezTo>
                    <a:pt x="1217486" y="549783"/>
                    <a:pt x="1247299" y="520065"/>
                    <a:pt x="1247299" y="483299"/>
                  </a:cubicBezTo>
                  <a:lnTo>
                    <a:pt x="1247299" y="235458"/>
                  </a:lnTo>
                  <a:cubicBezTo>
                    <a:pt x="1247299" y="198787"/>
                    <a:pt x="1217581" y="168974"/>
                    <a:pt x="1180909" y="168974"/>
                  </a:cubicBezTo>
                  <a:lnTo>
                    <a:pt x="849725" y="168974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3" name="Shape12_20220502_101224">
              <a:extLst>
                <a:ext uri="{FF2B5EF4-FFF2-40B4-BE49-F238E27FC236}">
                  <a16:creationId xmlns:a16="http://schemas.microsoft.com/office/drawing/2014/main" id="{691D335E-7992-84A9-98A5-F94335FE4D06}"/>
                </a:ext>
              </a:extLst>
            </p:cNvPr>
            <p:cNvSpPr/>
            <p:nvPr/>
          </p:nvSpPr>
          <p:spPr>
            <a:xfrm>
              <a:off x="9915591" y="2600918"/>
              <a:ext cx="103410" cy="103478"/>
            </a:xfrm>
            <a:custGeom>
              <a:avLst/>
              <a:gdLst>
                <a:gd name="connsiteX0" fmla="*/ 147066 w 147066"/>
                <a:gd name="connsiteY0" fmla="*/ 73628 h 147161"/>
                <a:gd name="connsiteX1" fmla="*/ 73533 w 147066"/>
                <a:gd name="connsiteY1" fmla="*/ 147161 h 147161"/>
                <a:gd name="connsiteX2" fmla="*/ 0 w 147066"/>
                <a:gd name="connsiteY2" fmla="*/ 73533 h 147161"/>
                <a:gd name="connsiteX3" fmla="*/ 73628 w 147066"/>
                <a:gd name="connsiteY3" fmla="*/ 0 h 147161"/>
                <a:gd name="connsiteX4" fmla="*/ 147066 w 147066"/>
                <a:gd name="connsiteY4" fmla="*/ 73628 h 14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066" h="147161">
                  <a:moveTo>
                    <a:pt x="147066" y="73628"/>
                  </a:moveTo>
                  <a:cubicBezTo>
                    <a:pt x="147066" y="114300"/>
                    <a:pt x="114110" y="147161"/>
                    <a:pt x="73533" y="147161"/>
                  </a:cubicBezTo>
                  <a:cubicBezTo>
                    <a:pt x="32956" y="147161"/>
                    <a:pt x="0" y="114205"/>
                    <a:pt x="0" y="73533"/>
                  </a:cubicBezTo>
                  <a:cubicBezTo>
                    <a:pt x="0" y="32957"/>
                    <a:pt x="33052" y="0"/>
                    <a:pt x="73628" y="0"/>
                  </a:cubicBezTo>
                  <a:cubicBezTo>
                    <a:pt x="114110" y="95"/>
                    <a:pt x="147066" y="32957"/>
                    <a:pt x="147066" y="73628"/>
                  </a:cubicBezTo>
                  <a:close/>
                </a:path>
              </a:pathLst>
            </a:custGeom>
            <a:solidFill>
              <a:srgbClr val="BA7C00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4" name="Shape13_20220502_101224">
              <a:extLst>
                <a:ext uri="{FF2B5EF4-FFF2-40B4-BE49-F238E27FC236}">
                  <a16:creationId xmlns:a16="http://schemas.microsoft.com/office/drawing/2014/main" id="{D8BF4C4D-E894-D739-5F6E-A7F4855E33BB}"/>
                </a:ext>
              </a:extLst>
            </p:cNvPr>
            <p:cNvSpPr/>
            <p:nvPr/>
          </p:nvSpPr>
          <p:spPr>
            <a:xfrm>
              <a:off x="9528736" y="2845785"/>
              <a:ext cx="876988" cy="70862"/>
            </a:xfrm>
            <a:custGeom>
              <a:avLst/>
              <a:gdLst>
                <a:gd name="connsiteX0" fmla="*/ 0 w 1247203"/>
                <a:gd name="connsiteY0" fmla="*/ 0 h 100774"/>
                <a:gd name="connsiteX1" fmla="*/ 1247204 w 1247203"/>
                <a:gd name="connsiteY1" fmla="*/ 0 h 100774"/>
                <a:gd name="connsiteX2" fmla="*/ 1247204 w 1247203"/>
                <a:gd name="connsiteY2" fmla="*/ 100775 h 100774"/>
                <a:gd name="connsiteX3" fmla="*/ 0 w 1247203"/>
                <a:gd name="connsiteY3" fmla="*/ 100775 h 100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7203" h="100774">
                  <a:moveTo>
                    <a:pt x="0" y="0"/>
                  </a:moveTo>
                  <a:lnTo>
                    <a:pt x="1247204" y="0"/>
                  </a:lnTo>
                  <a:lnTo>
                    <a:pt x="1247204" y="100775"/>
                  </a:lnTo>
                  <a:lnTo>
                    <a:pt x="0" y="10077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5" name="Shape14_20220502_101224">
              <a:extLst>
                <a:ext uri="{FF2B5EF4-FFF2-40B4-BE49-F238E27FC236}">
                  <a16:creationId xmlns:a16="http://schemas.microsoft.com/office/drawing/2014/main" id="{5D52A973-B388-645E-0CB6-52F805AC7E3D}"/>
                </a:ext>
              </a:extLst>
            </p:cNvPr>
            <p:cNvSpPr/>
            <p:nvPr/>
          </p:nvSpPr>
          <p:spPr>
            <a:xfrm>
              <a:off x="9859936" y="3054749"/>
              <a:ext cx="336824" cy="40386"/>
            </a:xfrm>
            <a:custGeom>
              <a:avLst/>
              <a:gdLst>
                <a:gd name="connsiteX0" fmla="*/ 0 w 479012"/>
                <a:gd name="connsiteY0" fmla="*/ 0 h 57435"/>
                <a:gd name="connsiteX1" fmla="*/ 479012 w 479012"/>
                <a:gd name="connsiteY1" fmla="*/ 0 h 57435"/>
                <a:gd name="connsiteX2" fmla="*/ 479012 w 479012"/>
                <a:gd name="connsiteY2" fmla="*/ 57436 h 57435"/>
                <a:gd name="connsiteX3" fmla="*/ 0 w 479012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012" h="57435">
                  <a:moveTo>
                    <a:pt x="0" y="0"/>
                  </a:moveTo>
                  <a:lnTo>
                    <a:pt x="479012" y="0"/>
                  </a:lnTo>
                  <a:lnTo>
                    <a:pt x="479012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6" name="Shape15_20220502_101224">
              <a:extLst>
                <a:ext uri="{FF2B5EF4-FFF2-40B4-BE49-F238E27FC236}">
                  <a16:creationId xmlns:a16="http://schemas.microsoft.com/office/drawing/2014/main" id="{AAF75F05-DAAB-5B60-30A4-007E3B9DDC7F}"/>
                </a:ext>
              </a:extLst>
            </p:cNvPr>
            <p:cNvSpPr/>
            <p:nvPr/>
          </p:nvSpPr>
          <p:spPr>
            <a:xfrm>
              <a:off x="9859936" y="3157023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7" name="Shape16_20220502_101224">
              <a:extLst>
                <a:ext uri="{FF2B5EF4-FFF2-40B4-BE49-F238E27FC236}">
                  <a16:creationId xmlns:a16="http://schemas.microsoft.com/office/drawing/2014/main" id="{6A7DD3DD-26C7-1133-F451-E1545EF2FB4B}"/>
                </a:ext>
              </a:extLst>
            </p:cNvPr>
            <p:cNvSpPr/>
            <p:nvPr/>
          </p:nvSpPr>
          <p:spPr>
            <a:xfrm>
              <a:off x="9859936" y="3256549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8" name="Shape17_20220502_101224">
              <a:extLst>
                <a:ext uri="{FF2B5EF4-FFF2-40B4-BE49-F238E27FC236}">
                  <a16:creationId xmlns:a16="http://schemas.microsoft.com/office/drawing/2014/main" id="{0C7823F2-E657-ECCA-7186-D68A1EED7F5A}"/>
                </a:ext>
              </a:extLst>
            </p:cNvPr>
            <p:cNvSpPr/>
            <p:nvPr/>
          </p:nvSpPr>
          <p:spPr>
            <a:xfrm>
              <a:off x="9859936" y="3356077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9" name="Shape18_20220502_101224">
              <a:extLst>
                <a:ext uri="{FF2B5EF4-FFF2-40B4-BE49-F238E27FC236}">
                  <a16:creationId xmlns:a16="http://schemas.microsoft.com/office/drawing/2014/main" id="{DDBFE6F7-BC62-57D5-B94A-3FA880E98C65}"/>
                </a:ext>
              </a:extLst>
            </p:cNvPr>
            <p:cNvSpPr/>
            <p:nvPr/>
          </p:nvSpPr>
          <p:spPr>
            <a:xfrm>
              <a:off x="9403357" y="3054749"/>
              <a:ext cx="341644" cy="341646"/>
            </a:xfrm>
            <a:custGeom>
              <a:avLst/>
              <a:gdLst>
                <a:gd name="connsiteX0" fmla="*/ 76581 w 485870"/>
                <a:gd name="connsiteY0" fmla="*/ 485870 h 485870"/>
                <a:gd name="connsiteX1" fmla="*/ 22479 w 485870"/>
                <a:gd name="connsiteY1" fmla="*/ 463391 h 485870"/>
                <a:gd name="connsiteX2" fmla="*/ 0 w 485870"/>
                <a:gd name="connsiteY2" fmla="*/ 409289 h 485870"/>
                <a:gd name="connsiteX3" fmla="*/ 0 w 485870"/>
                <a:gd name="connsiteY3" fmla="*/ 76581 h 485870"/>
                <a:gd name="connsiteX4" fmla="*/ 76581 w 485870"/>
                <a:gd name="connsiteY4" fmla="*/ 0 h 485870"/>
                <a:gd name="connsiteX5" fmla="*/ 409289 w 485870"/>
                <a:gd name="connsiteY5" fmla="*/ 0 h 485870"/>
                <a:gd name="connsiteX6" fmla="*/ 485870 w 485870"/>
                <a:gd name="connsiteY6" fmla="*/ 76581 h 485870"/>
                <a:gd name="connsiteX7" fmla="*/ 485870 w 485870"/>
                <a:gd name="connsiteY7" fmla="*/ 409289 h 485870"/>
                <a:gd name="connsiteX8" fmla="*/ 463391 w 485870"/>
                <a:gd name="connsiteY8" fmla="*/ 463391 h 485870"/>
                <a:gd name="connsiteX9" fmla="*/ 409289 w 485870"/>
                <a:gd name="connsiteY9" fmla="*/ 485870 h 485870"/>
                <a:gd name="connsiteX10" fmla="*/ 76581 w 485870"/>
                <a:gd name="connsiteY10" fmla="*/ 485870 h 485870"/>
                <a:gd name="connsiteX11" fmla="*/ 76581 w 485870"/>
                <a:gd name="connsiteY11" fmla="*/ 53816 h 485870"/>
                <a:gd name="connsiteX12" fmla="*/ 60484 w 485870"/>
                <a:gd name="connsiteY12" fmla="*/ 60484 h 485870"/>
                <a:gd name="connsiteX13" fmla="*/ 53816 w 485870"/>
                <a:gd name="connsiteY13" fmla="*/ 76581 h 485870"/>
                <a:gd name="connsiteX14" fmla="*/ 53816 w 485870"/>
                <a:gd name="connsiteY14" fmla="*/ 409289 h 485870"/>
                <a:gd name="connsiteX15" fmla="*/ 76676 w 485870"/>
                <a:gd name="connsiteY15" fmla="*/ 432149 h 485870"/>
                <a:gd name="connsiteX16" fmla="*/ 409289 w 485870"/>
                <a:gd name="connsiteY16" fmla="*/ 432149 h 485870"/>
                <a:gd name="connsiteX17" fmla="*/ 432149 w 485870"/>
                <a:gd name="connsiteY17" fmla="*/ 409289 h 485870"/>
                <a:gd name="connsiteX18" fmla="*/ 432149 w 485870"/>
                <a:gd name="connsiteY18" fmla="*/ 76581 h 485870"/>
                <a:gd name="connsiteX19" fmla="*/ 409289 w 485870"/>
                <a:gd name="connsiteY19" fmla="*/ 53721 h 485870"/>
                <a:gd name="connsiteX20" fmla="*/ 409289 w 485870"/>
                <a:gd name="connsiteY20" fmla="*/ 53721 h 485870"/>
                <a:gd name="connsiteX21" fmla="*/ 76581 w 485870"/>
                <a:gd name="connsiteY21" fmla="*/ 53816 h 4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5870" h="485870">
                  <a:moveTo>
                    <a:pt x="76581" y="485870"/>
                  </a:moveTo>
                  <a:cubicBezTo>
                    <a:pt x="56197" y="485870"/>
                    <a:pt x="36957" y="477869"/>
                    <a:pt x="22479" y="463391"/>
                  </a:cubicBezTo>
                  <a:cubicBezTo>
                    <a:pt x="8001" y="448913"/>
                    <a:pt x="0" y="429673"/>
                    <a:pt x="0" y="409289"/>
                  </a:cubicBezTo>
                  <a:lnTo>
                    <a:pt x="0" y="76581"/>
                  </a:lnTo>
                  <a:cubicBezTo>
                    <a:pt x="0" y="34385"/>
                    <a:pt x="34385" y="0"/>
                    <a:pt x="76581" y="0"/>
                  </a:cubicBezTo>
                  <a:lnTo>
                    <a:pt x="409289" y="0"/>
                  </a:lnTo>
                  <a:cubicBezTo>
                    <a:pt x="451485" y="0"/>
                    <a:pt x="485870" y="34385"/>
                    <a:pt x="485870" y="76581"/>
                  </a:cubicBezTo>
                  <a:lnTo>
                    <a:pt x="485870" y="409289"/>
                  </a:lnTo>
                  <a:cubicBezTo>
                    <a:pt x="485870" y="429673"/>
                    <a:pt x="477869" y="448913"/>
                    <a:pt x="463391" y="463391"/>
                  </a:cubicBezTo>
                  <a:cubicBezTo>
                    <a:pt x="448913" y="477869"/>
                    <a:pt x="429673" y="485870"/>
                    <a:pt x="409289" y="485870"/>
                  </a:cubicBezTo>
                  <a:lnTo>
                    <a:pt x="76581" y="485870"/>
                  </a:lnTo>
                  <a:close/>
                  <a:moveTo>
                    <a:pt x="76581" y="53816"/>
                  </a:moveTo>
                  <a:cubicBezTo>
                    <a:pt x="70485" y="53816"/>
                    <a:pt x="64770" y="56198"/>
                    <a:pt x="60484" y="60484"/>
                  </a:cubicBezTo>
                  <a:cubicBezTo>
                    <a:pt x="56197" y="64770"/>
                    <a:pt x="53816" y="70580"/>
                    <a:pt x="53816" y="76581"/>
                  </a:cubicBezTo>
                  <a:lnTo>
                    <a:pt x="53816" y="409289"/>
                  </a:lnTo>
                  <a:cubicBezTo>
                    <a:pt x="53816" y="421862"/>
                    <a:pt x="64103" y="432149"/>
                    <a:pt x="76676" y="432149"/>
                  </a:cubicBezTo>
                  <a:lnTo>
                    <a:pt x="409289" y="432149"/>
                  </a:lnTo>
                  <a:cubicBezTo>
                    <a:pt x="421862" y="432149"/>
                    <a:pt x="432149" y="421862"/>
                    <a:pt x="432149" y="409289"/>
                  </a:cubicBezTo>
                  <a:lnTo>
                    <a:pt x="432149" y="76581"/>
                  </a:lnTo>
                  <a:cubicBezTo>
                    <a:pt x="432149" y="64008"/>
                    <a:pt x="421957" y="53721"/>
                    <a:pt x="409289" y="53721"/>
                  </a:cubicBezTo>
                  <a:lnTo>
                    <a:pt x="409289" y="53721"/>
                  </a:lnTo>
                  <a:lnTo>
                    <a:pt x="76581" y="5381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0" name="Shape19_20220502_101224">
              <a:extLst>
                <a:ext uri="{FF2B5EF4-FFF2-40B4-BE49-F238E27FC236}">
                  <a16:creationId xmlns:a16="http://schemas.microsoft.com/office/drawing/2014/main" id="{3021456A-0A3C-A8E9-DC3F-CAA9493AD1AE}"/>
                </a:ext>
              </a:extLst>
            </p:cNvPr>
            <p:cNvSpPr/>
            <p:nvPr/>
          </p:nvSpPr>
          <p:spPr>
            <a:xfrm>
              <a:off x="9460420" y="3140815"/>
              <a:ext cx="227585" cy="173200"/>
            </a:xfrm>
            <a:custGeom>
              <a:avLst/>
              <a:gdLst>
                <a:gd name="connsiteX0" fmla="*/ 136303 w 323659"/>
                <a:gd name="connsiteY0" fmla="*/ 246317 h 246316"/>
                <a:gd name="connsiteX1" fmla="*/ 0 w 323659"/>
                <a:gd name="connsiteY1" fmla="*/ 115824 h 246316"/>
                <a:gd name="connsiteX2" fmla="*/ 50959 w 323659"/>
                <a:gd name="connsiteY2" fmla="*/ 62579 h 246316"/>
                <a:gd name="connsiteX3" fmla="*/ 134112 w 323659"/>
                <a:gd name="connsiteY3" fmla="*/ 142113 h 246316"/>
                <a:gd name="connsiteX4" fmla="*/ 270415 w 323659"/>
                <a:gd name="connsiteY4" fmla="*/ 0 h 246316"/>
                <a:gd name="connsiteX5" fmla="*/ 323660 w 323659"/>
                <a:gd name="connsiteY5" fmla="*/ 50959 h 246316"/>
                <a:gd name="connsiteX6" fmla="*/ 136303 w 323659"/>
                <a:gd name="connsiteY6" fmla="*/ 246317 h 246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659" h="246316">
                  <a:moveTo>
                    <a:pt x="136303" y="246317"/>
                  </a:moveTo>
                  <a:lnTo>
                    <a:pt x="0" y="115824"/>
                  </a:lnTo>
                  <a:lnTo>
                    <a:pt x="50959" y="62579"/>
                  </a:lnTo>
                  <a:lnTo>
                    <a:pt x="134112" y="142113"/>
                  </a:lnTo>
                  <a:lnTo>
                    <a:pt x="270415" y="0"/>
                  </a:lnTo>
                  <a:lnTo>
                    <a:pt x="323660" y="50959"/>
                  </a:lnTo>
                  <a:lnTo>
                    <a:pt x="136303" y="246317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1" name="Shape20_20220502_101224">
              <a:extLst>
                <a:ext uri="{FF2B5EF4-FFF2-40B4-BE49-F238E27FC236}">
                  <a16:creationId xmlns:a16="http://schemas.microsoft.com/office/drawing/2014/main" id="{78DD8D57-ADAA-78E4-872D-ADAE41F3CAA1}"/>
                </a:ext>
              </a:extLst>
            </p:cNvPr>
            <p:cNvSpPr/>
            <p:nvPr/>
          </p:nvSpPr>
          <p:spPr>
            <a:xfrm>
              <a:off x="9859936" y="3454934"/>
              <a:ext cx="336824" cy="40386"/>
            </a:xfrm>
            <a:custGeom>
              <a:avLst/>
              <a:gdLst>
                <a:gd name="connsiteX0" fmla="*/ 0 w 479012"/>
                <a:gd name="connsiteY0" fmla="*/ 0 h 57435"/>
                <a:gd name="connsiteX1" fmla="*/ 479012 w 479012"/>
                <a:gd name="connsiteY1" fmla="*/ 0 h 57435"/>
                <a:gd name="connsiteX2" fmla="*/ 479012 w 479012"/>
                <a:gd name="connsiteY2" fmla="*/ 57436 h 57435"/>
                <a:gd name="connsiteX3" fmla="*/ 0 w 479012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012" h="57435">
                  <a:moveTo>
                    <a:pt x="0" y="0"/>
                  </a:moveTo>
                  <a:lnTo>
                    <a:pt x="479012" y="0"/>
                  </a:lnTo>
                  <a:lnTo>
                    <a:pt x="479012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2" name="Shape21_20220502_101224">
              <a:extLst>
                <a:ext uri="{FF2B5EF4-FFF2-40B4-BE49-F238E27FC236}">
                  <a16:creationId xmlns:a16="http://schemas.microsoft.com/office/drawing/2014/main" id="{EDD5A25C-9C44-28E7-BC3D-549F62422828}"/>
                </a:ext>
              </a:extLst>
            </p:cNvPr>
            <p:cNvSpPr/>
            <p:nvPr/>
          </p:nvSpPr>
          <p:spPr>
            <a:xfrm>
              <a:off x="9859936" y="3557139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3" name="Shape22_20220502_101224">
              <a:extLst>
                <a:ext uri="{FF2B5EF4-FFF2-40B4-BE49-F238E27FC236}">
                  <a16:creationId xmlns:a16="http://schemas.microsoft.com/office/drawing/2014/main" id="{D273D2A5-40E3-FA76-468F-3BE6DCBAAB61}"/>
                </a:ext>
              </a:extLst>
            </p:cNvPr>
            <p:cNvSpPr/>
            <p:nvPr/>
          </p:nvSpPr>
          <p:spPr>
            <a:xfrm>
              <a:off x="9859936" y="3656667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4" name="Shape23_20220502_101224">
              <a:extLst>
                <a:ext uri="{FF2B5EF4-FFF2-40B4-BE49-F238E27FC236}">
                  <a16:creationId xmlns:a16="http://schemas.microsoft.com/office/drawing/2014/main" id="{E7707F5B-4616-290E-6A07-277A0F4EBA27}"/>
                </a:ext>
              </a:extLst>
            </p:cNvPr>
            <p:cNvSpPr/>
            <p:nvPr/>
          </p:nvSpPr>
          <p:spPr>
            <a:xfrm>
              <a:off x="9859936" y="3756192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5" name="Shape24_20220502_101224">
              <a:extLst>
                <a:ext uri="{FF2B5EF4-FFF2-40B4-BE49-F238E27FC236}">
                  <a16:creationId xmlns:a16="http://schemas.microsoft.com/office/drawing/2014/main" id="{8E8BBF94-A41B-9880-19FB-659338336E28}"/>
                </a:ext>
              </a:extLst>
            </p:cNvPr>
            <p:cNvSpPr/>
            <p:nvPr/>
          </p:nvSpPr>
          <p:spPr>
            <a:xfrm>
              <a:off x="9403357" y="3454934"/>
              <a:ext cx="341644" cy="341646"/>
            </a:xfrm>
            <a:custGeom>
              <a:avLst/>
              <a:gdLst>
                <a:gd name="connsiteX0" fmla="*/ 76581 w 485870"/>
                <a:gd name="connsiteY0" fmla="*/ 485870 h 485870"/>
                <a:gd name="connsiteX1" fmla="*/ 22479 w 485870"/>
                <a:gd name="connsiteY1" fmla="*/ 463391 h 485870"/>
                <a:gd name="connsiteX2" fmla="*/ 0 w 485870"/>
                <a:gd name="connsiteY2" fmla="*/ 409289 h 485870"/>
                <a:gd name="connsiteX3" fmla="*/ 0 w 485870"/>
                <a:gd name="connsiteY3" fmla="*/ 76581 h 485870"/>
                <a:gd name="connsiteX4" fmla="*/ 76581 w 485870"/>
                <a:gd name="connsiteY4" fmla="*/ 0 h 485870"/>
                <a:gd name="connsiteX5" fmla="*/ 409289 w 485870"/>
                <a:gd name="connsiteY5" fmla="*/ 0 h 485870"/>
                <a:gd name="connsiteX6" fmla="*/ 485870 w 485870"/>
                <a:gd name="connsiteY6" fmla="*/ 76581 h 485870"/>
                <a:gd name="connsiteX7" fmla="*/ 485870 w 485870"/>
                <a:gd name="connsiteY7" fmla="*/ 409289 h 485870"/>
                <a:gd name="connsiteX8" fmla="*/ 463391 w 485870"/>
                <a:gd name="connsiteY8" fmla="*/ 463391 h 485870"/>
                <a:gd name="connsiteX9" fmla="*/ 409289 w 485870"/>
                <a:gd name="connsiteY9" fmla="*/ 485870 h 485870"/>
                <a:gd name="connsiteX10" fmla="*/ 76581 w 485870"/>
                <a:gd name="connsiteY10" fmla="*/ 485870 h 485870"/>
                <a:gd name="connsiteX11" fmla="*/ 76581 w 485870"/>
                <a:gd name="connsiteY11" fmla="*/ 53721 h 485870"/>
                <a:gd name="connsiteX12" fmla="*/ 60484 w 485870"/>
                <a:gd name="connsiteY12" fmla="*/ 60388 h 485870"/>
                <a:gd name="connsiteX13" fmla="*/ 53816 w 485870"/>
                <a:gd name="connsiteY13" fmla="*/ 76486 h 485870"/>
                <a:gd name="connsiteX14" fmla="*/ 53816 w 485870"/>
                <a:gd name="connsiteY14" fmla="*/ 409194 h 485870"/>
                <a:gd name="connsiteX15" fmla="*/ 76676 w 485870"/>
                <a:gd name="connsiteY15" fmla="*/ 432054 h 485870"/>
                <a:gd name="connsiteX16" fmla="*/ 409289 w 485870"/>
                <a:gd name="connsiteY16" fmla="*/ 432054 h 485870"/>
                <a:gd name="connsiteX17" fmla="*/ 432149 w 485870"/>
                <a:gd name="connsiteY17" fmla="*/ 409194 h 485870"/>
                <a:gd name="connsiteX18" fmla="*/ 432149 w 485870"/>
                <a:gd name="connsiteY18" fmla="*/ 76486 h 485870"/>
                <a:gd name="connsiteX19" fmla="*/ 409289 w 485870"/>
                <a:gd name="connsiteY19" fmla="*/ 53626 h 485870"/>
                <a:gd name="connsiteX20" fmla="*/ 409289 w 485870"/>
                <a:gd name="connsiteY20" fmla="*/ 53626 h 485870"/>
                <a:gd name="connsiteX21" fmla="*/ 76581 w 485870"/>
                <a:gd name="connsiteY21" fmla="*/ 53721 h 4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5870" h="485870">
                  <a:moveTo>
                    <a:pt x="76581" y="485870"/>
                  </a:moveTo>
                  <a:cubicBezTo>
                    <a:pt x="56197" y="485870"/>
                    <a:pt x="36957" y="477869"/>
                    <a:pt x="22479" y="463391"/>
                  </a:cubicBezTo>
                  <a:cubicBezTo>
                    <a:pt x="8001" y="448913"/>
                    <a:pt x="0" y="429673"/>
                    <a:pt x="0" y="409289"/>
                  </a:cubicBezTo>
                  <a:lnTo>
                    <a:pt x="0" y="76581"/>
                  </a:lnTo>
                  <a:cubicBezTo>
                    <a:pt x="0" y="34385"/>
                    <a:pt x="34385" y="0"/>
                    <a:pt x="76581" y="0"/>
                  </a:cubicBezTo>
                  <a:lnTo>
                    <a:pt x="409289" y="0"/>
                  </a:lnTo>
                  <a:cubicBezTo>
                    <a:pt x="451485" y="0"/>
                    <a:pt x="485870" y="34385"/>
                    <a:pt x="485870" y="76581"/>
                  </a:cubicBezTo>
                  <a:lnTo>
                    <a:pt x="485870" y="409289"/>
                  </a:lnTo>
                  <a:cubicBezTo>
                    <a:pt x="485870" y="429673"/>
                    <a:pt x="477869" y="448913"/>
                    <a:pt x="463391" y="463391"/>
                  </a:cubicBezTo>
                  <a:cubicBezTo>
                    <a:pt x="448913" y="477869"/>
                    <a:pt x="429673" y="485870"/>
                    <a:pt x="409289" y="485870"/>
                  </a:cubicBezTo>
                  <a:lnTo>
                    <a:pt x="76581" y="485870"/>
                  </a:lnTo>
                  <a:close/>
                  <a:moveTo>
                    <a:pt x="76581" y="53721"/>
                  </a:moveTo>
                  <a:cubicBezTo>
                    <a:pt x="70485" y="53721"/>
                    <a:pt x="64770" y="56102"/>
                    <a:pt x="60484" y="60388"/>
                  </a:cubicBezTo>
                  <a:cubicBezTo>
                    <a:pt x="56197" y="64675"/>
                    <a:pt x="53816" y="70485"/>
                    <a:pt x="53816" y="76486"/>
                  </a:cubicBezTo>
                  <a:lnTo>
                    <a:pt x="53816" y="409194"/>
                  </a:lnTo>
                  <a:cubicBezTo>
                    <a:pt x="53816" y="421767"/>
                    <a:pt x="64103" y="432054"/>
                    <a:pt x="76676" y="432054"/>
                  </a:cubicBezTo>
                  <a:lnTo>
                    <a:pt x="409289" y="432054"/>
                  </a:lnTo>
                  <a:cubicBezTo>
                    <a:pt x="421862" y="432054"/>
                    <a:pt x="432149" y="421767"/>
                    <a:pt x="432149" y="409194"/>
                  </a:cubicBezTo>
                  <a:lnTo>
                    <a:pt x="432149" y="76486"/>
                  </a:lnTo>
                  <a:cubicBezTo>
                    <a:pt x="432149" y="63913"/>
                    <a:pt x="421957" y="53626"/>
                    <a:pt x="409289" y="53626"/>
                  </a:cubicBezTo>
                  <a:lnTo>
                    <a:pt x="409289" y="53626"/>
                  </a:lnTo>
                  <a:lnTo>
                    <a:pt x="76581" y="53721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6" name="Shape25_20220502_101224">
              <a:extLst>
                <a:ext uri="{FF2B5EF4-FFF2-40B4-BE49-F238E27FC236}">
                  <a16:creationId xmlns:a16="http://schemas.microsoft.com/office/drawing/2014/main" id="{F31CC86A-292E-062B-17D9-45F6AEAAEC06}"/>
                </a:ext>
              </a:extLst>
            </p:cNvPr>
            <p:cNvSpPr/>
            <p:nvPr/>
          </p:nvSpPr>
          <p:spPr>
            <a:xfrm>
              <a:off x="9460420" y="3540865"/>
              <a:ext cx="227650" cy="173267"/>
            </a:xfrm>
            <a:custGeom>
              <a:avLst/>
              <a:gdLst>
                <a:gd name="connsiteX0" fmla="*/ 136303 w 323754"/>
                <a:gd name="connsiteY0" fmla="*/ 246412 h 246411"/>
                <a:gd name="connsiteX1" fmla="*/ 0 w 323754"/>
                <a:gd name="connsiteY1" fmla="*/ 115919 h 246411"/>
                <a:gd name="connsiteX2" fmla="*/ 50959 w 323754"/>
                <a:gd name="connsiteY2" fmla="*/ 62675 h 246411"/>
                <a:gd name="connsiteX3" fmla="*/ 134112 w 323754"/>
                <a:gd name="connsiteY3" fmla="*/ 142208 h 246411"/>
                <a:gd name="connsiteX4" fmla="*/ 270510 w 323754"/>
                <a:gd name="connsiteY4" fmla="*/ 0 h 246411"/>
                <a:gd name="connsiteX5" fmla="*/ 323755 w 323754"/>
                <a:gd name="connsiteY5" fmla="*/ 50959 h 246411"/>
                <a:gd name="connsiteX6" fmla="*/ 136303 w 323754"/>
                <a:gd name="connsiteY6" fmla="*/ 246412 h 246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754" h="246411">
                  <a:moveTo>
                    <a:pt x="136303" y="246412"/>
                  </a:moveTo>
                  <a:lnTo>
                    <a:pt x="0" y="115919"/>
                  </a:lnTo>
                  <a:lnTo>
                    <a:pt x="50959" y="62675"/>
                  </a:lnTo>
                  <a:lnTo>
                    <a:pt x="134112" y="142208"/>
                  </a:lnTo>
                  <a:lnTo>
                    <a:pt x="270510" y="0"/>
                  </a:lnTo>
                  <a:lnTo>
                    <a:pt x="323755" y="50959"/>
                  </a:lnTo>
                  <a:lnTo>
                    <a:pt x="136303" y="246412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7" name="Shape26_20220502_101224">
              <a:extLst>
                <a:ext uri="{FF2B5EF4-FFF2-40B4-BE49-F238E27FC236}">
                  <a16:creationId xmlns:a16="http://schemas.microsoft.com/office/drawing/2014/main" id="{E1A093F7-0058-A48A-4797-0B97D0EB21DE}"/>
                </a:ext>
              </a:extLst>
            </p:cNvPr>
            <p:cNvSpPr/>
            <p:nvPr/>
          </p:nvSpPr>
          <p:spPr>
            <a:xfrm>
              <a:off x="9859936" y="3855051"/>
              <a:ext cx="336824" cy="40386"/>
            </a:xfrm>
            <a:custGeom>
              <a:avLst/>
              <a:gdLst>
                <a:gd name="connsiteX0" fmla="*/ 0 w 479012"/>
                <a:gd name="connsiteY0" fmla="*/ 0 h 57435"/>
                <a:gd name="connsiteX1" fmla="*/ 479012 w 479012"/>
                <a:gd name="connsiteY1" fmla="*/ 0 h 57435"/>
                <a:gd name="connsiteX2" fmla="*/ 479012 w 479012"/>
                <a:gd name="connsiteY2" fmla="*/ 57436 h 57435"/>
                <a:gd name="connsiteX3" fmla="*/ 0 w 479012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012" h="57435">
                  <a:moveTo>
                    <a:pt x="0" y="0"/>
                  </a:moveTo>
                  <a:lnTo>
                    <a:pt x="479012" y="0"/>
                  </a:lnTo>
                  <a:lnTo>
                    <a:pt x="479012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8" name="Shape27_20220502_101224">
              <a:extLst>
                <a:ext uri="{FF2B5EF4-FFF2-40B4-BE49-F238E27FC236}">
                  <a16:creationId xmlns:a16="http://schemas.microsoft.com/office/drawing/2014/main" id="{564115A8-CBFB-A7C3-9254-929D01AB8447}"/>
                </a:ext>
              </a:extLst>
            </p:cNvPr>
            <p:cNvSpPr/>
            <p:nvPr/>
          </p:nvSpPr>
          <p:spPr>
            <a:xfrm>
              <a:off x="9859936" y="3957326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9" name="Shape28_20220502_101224">
              <a:extLst>
                <a:ext uri="{FF2B5EF4-FFF2-40B4-BE49-F238E27FC236}">
                  <a16:creationId xmlns:a16="http://schemas.microsoft.com/office/drawing/2014/main" id="{3AD5E118-FC99-3F5A-DDF6-47D59C1E0C15}"/>
                </a:ext>
              </a:extLst>
            </p:cNvPr>
            <p:cNvSpPr/>
            <p:nvPr/>
          </p:nvSpPr>
          <p:spPr>
            <a:xfrm>
              <a:off x="9859936" y="4056785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0" name="Shape29_20220502_101224">
              <a:extLst>
                <a:ext uri="{FF2B5EF4-FFF2-40B4-BE49-F238E27FC236}">
                  <a16:creationId xmlns:a16="http://schemas.microsoft.com/office/drawing/2014/main" id="{9F99FDE3-CF3C-1090-2C7D-6B28D1984095}"/>
                </a:ext>
              </a:extLst>
            </p:cNvPr>
            <p:cNvSpPr/>
            <p:nvPr/>
          </p:nvSpPr>
          <p:spPr>
            <a:xfrm>
              <a:off x="9859936" y="4156310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1" name="Shape30_20220502_101224">
              <a:extLst>
                <a:ext uri="{FF2B5EF4-FFF2-40B4-BE49-F238E27FC236}">
                  <a16:creationId xmlns:a16="http://schemas.microsoft.com/office/drawing/2014/main" id="{0A452D9E-9C64-020A-64DF-CCD06510F2A7}"/>
                </a:ext>
              </a:extLst>
            </p:cNvPr>
            <p:cNvSpPr/>
            <p:nvPr/>
          </p:nvSpPr>
          <p:spPr>
            <a:xfrm>
              <a:off x="9403357" y="3855051"/>
              <a:ext cx="341644" cy="341646"/>
            </a:xfrm>
            <a:custGeom>
              <a:avLst/>
              <a:gdLst>
                <a:gd name="connsiteX0" fmla="*/ 76581 w 485870"/>
                <a:gd name="connsiteY0" fmla="*/ 485870 h 485870"/>
                <a:gd name="connsiteX1" fmla="*/ 22479 w 485870"/>
                <a:gd name="connsiteY1" fmla="*/ 463391 h 485870"/>
                <a:gd name="connsiteX2" fmla="*/ 0 w 485870"/>
                <a:gd name="connsiteY2" fmla="*/ 409289 h 485870"/>
                <a:gd name="connsiteX3" fmla="*/ 0 w 485870"/>
                <a:gd name="connsiteY3" fmla="*/ 76581 h 485870"/>
                <a:gd name="connsiteX4" fmla="*/ 76581 w 485870"/>
                <a:gd name="connsiteY4" fmla="*/ 0 h 485870"/>
                <a:gd name="connsiteX5" fmla="*/ 409289 w 485870"/>
                <a:gd name="connsiteY5" fmla="*/ 0 h 485870"/>
                <a:gd name="connsiteX6" fmla="*/ 485870 w 485870"/>
                <a:gd name="connsiteY6" fmla="*/ 76581 h 485870"/>
                <a:gd name="connsiteX7" fmla="*/ 485870 w 485870"/>
                <a:gd name="connsiteY7" fmla="*/ 409289 h 485870"/>
                <a:gd name="connsiteX8" fmla="*/ 463391 w 485870"/>
                <a:gd name="connsiteY8" fmla="*/ 463391 h 485870"/>
                <a:gd name="connsiteX9" fmla="*/ 409289 w 485870"/>
                <a:gd name="connsiteY9" fmla="*/ 485870 h 485870"/>
                <a:gd name="connsiteX10" fmla="*/ 76581 w 485870"/>
                <a:gd name="connsiteY10" fmla="*/ 485870 h 485870"/>
                <a:gd name="connsiteX11" fmla="*/ 76581 w 485870"/>
                <a:gd name="connsiteY11" fmla="*/ 53721 h 485870"/>
                <a:gd name="connsiteX12" fmla="*/ 60484 w 485870"/>
                <a:gd name="connsiteY12" fmla="*/ 60388 h 485870"/>
                <a:gd name="connsiteX13" fmla="*/ 53816 w 485870"/>
                <a:gd name="connsiteY13" fmla="*/ 76486 h 485870"/>
                <a:gd name="connsiteX14" fmla="*/ 53816 w 485870"/>
                <a:gd name="connsiteY14" fmla="*/ 409194 h 485870"/>
                <a:gd name="connsiteX15" fmla="*/ 76676 w 485870"/>
                <a:gd name="connsiteY15" fmla="*/ 432054 h 485870"/>
                <a:gd name="connsiteX16" fmla="*/ 409289 w 485870"/>
                <a:gd name="connsiteY16" fmla="*/ 432054 h 485870"/>
                <a:gd name="connsiteX17" fmla="*/ 432149 w 485870"/>
                <a:gd name="connsiteY17" fmla="*/ 409194 h 485870"/>
                <a:gd name="connsiteX18" fmla="*/ 432149 w 485870"/>
                <a:gd name="connsiteY18" fmla="*/ 76486 h 485870"/>
                <a:gd name="connsiteX19" fmla="*/ 409289 w 485870"/>
                <a:gd name="connsiteY19" fmla="*/ 53626 h 485870"/>
                <a:gd name="connsiteX20" fmla="*/ 409289 w 485870"/>
                <a:gd name="connsiteY20" fmla="*/ 53626 h 485870"/>
                <a:gd name="connsiteX21" fmla="*/ 76581 w 485870"/>
                <a:gd name="connsiteY21" fmla="*/ 53721 h 4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5870" h="485870">
                  <a:moveTo>
                    <a:pt x="76581" y="485870"/>
                  </a:moveTo>
                  <a:cubicBezTo>
                    <a:pt x="56197" y="485870"/>
                    <a:pt x="36957" y="477869"/>
                    <a:pt x="22479" y="463391"/>
                  </a:cubicBezTo>
                  <a:cubicBezTo>
                    <a:pt x="8001" y="448913"/>
                    <a:pt x="0" y="429673"/>
                    <a:pt x="0" y="409289"/>
                  </a:cubicBezTo>
                  <a:lnTo>
                    <a:pt x="0" y="76581"/>
                  </a:lnTo>
                  <a:cubicBezTo>
                    <a:pt x="0" y="34385"/>
                    <a:pt x="34385" y="0"/>
                    <a:pt x="76581" y="0"/>
                  </a:cubicBezTo>
                  <a:lnTo>
                    <a:pt x="409289" y="0"/>
                  </a:lnTo>
                  <a:cubicBezTo>
                    <a:pt x="451485" y="0"/>
                    <a:pt x="485870" y="34385"/>
                    <a:pt x="485870" y="76581"/>
                  </a:cubicBezTo>
                  <a:lnTo>
                    <a:pt x="485870" y="409289"/>
                  </a:lnTo>
                  <a:cubicBezTo>
                    <a:pt x="485870" y="429673"/>
                    <a:pt x="477869" y="448913"/>
                    <a:pt x="463391" y="463391"/>
                  </a:cubicBezTo>
                  <a:cubicBezTo>
                    <a:pt x="448913" y="477869"/>
                    <a:pt x="429673" y="485870"/>
                    <a:pt x="409289" y="485870"/>
                  </a:cubicBezTo>
                  <a:lnTo>
                    <a:pt x="76581" y="485870"/>
                  </a:lnTo>
                  <a:close/>
                  <a:moveTo>
                    <a:pt x="76581" y="53721"/>
                  </a:moveTo>
                  <a:cubicBezTo>
                    <a:pt x="70485" y="53721"/>
                    <a:pt x="64770" y="56102"/>
                    <a:pt x="60484" y="60388"/>
                  </a:cubicBezTo>
                  <a:cubicBezTo>
                    <a:pt x="56197" y="64675"/>
                    <a:pt x="53816" y="70485"/>
                    <a:pt x="53816" y="76486"/>
                  </a:cubicBezTo>
                  <a:lnTo>
                    <a:pt x="53816" y="409194"/>
                  </a:lnTo>
                  <a:cubicBezTo>
                    <a:pt x="53816" y="421767"/>
                    <a:pt x="64103" y="432054"/>
                    <a:pt x="76676" y="432054"/>
                  </a:cubicBezTo>
                  <a:lnTo>
                    <a:pt x="409289" y="432054"/>
                  </a:lnTo>
                  <a:cubicBezTo>
                    <a:pt x="421862" y="432054"/>
                    <a:pt x="432149" y="421767"/>
                    <a:pt x="432149" y="409194"/>
                  </a:cubicBezTo>
                  <a:lnTo>
                    <a:pt x="432149" y="76486"/>
                  </a:lnTo>
                  <a:cubicBezTo>
                    <a:pt x="432149" y="63913"/>
                    <a:pt x="421957" y="53626"/>
                    <a:pt x="409289" y="53626"/>
                  </a:cubicBezTo>
                  <a:lnTo>
                    <a:pt x="409289" y="53626"/>
                  </a:lnTo>
                  <a:lnTo>
                    <a:pt x="76581" y="53721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2" name="Shape31_20220502_101224">
              <a:extLst>
                <a:ext uri="{FF2B5EF4-FFF2-40B4-BE49-F238E27FC236}">
                  <a16:creationId xmlns:a16="http://schemas.microsoft.com/office/drawing/2014/main" id="{3F65EFD6-1C8F-DEB5-A3DF-4AE5D5C5276B}"/>
                </a:ext>
              </a:extLst>
            </p:cNvPr>
            <p:cNvSpPr/>
            <p:nvPr/>
          </p:nvSpPr>
          <p:spPr>
            <a:xfrm>
              <a:off x="9460420" y="3941047"/>
              <a:ext cx="227650" cy="173267"/>
            </a:xfrm>
            <a:custGeom>
              <a:avLst/>
              <a:gdLst>
                <a:gd name="connsiteX0" fmla="*/ 136303 w 323754"/>
                <a:gd name="connsiteY0" fmla="*/ 246412 h 246411"/>
                <a:gd name="connsiteX1" fmla="*/ 0 w 323754"/>
                <a:gd name="connsiteY1" fmla="*/ 115919 h 246411"/>
                <a:gd name="connsiteX2" fmla="*/ 50959 w 323754"/>
                <a:gd name="connsiteY2" fmla="*/ 62675 h 246411"/>
                <a:gd name="connsiteX3" fmla="*/ 134112 w 323754"/>
                <a:gd name="connsiteY3" fmla="*/ 142208 h 246411"/>
                <a:gd name="connsiteX4" fmla="*/ 270510 w 323754"/>
                <a:gd name="connsiteY4" fmla="*/ 0 h 246411"/>
                <a:gd name="connsiteX5" fmla="*/ 323755 w 323754"/>
                <a:gd name="connsiteY5" fmla="*/ 50959 h 246411"/>
                <a:gd name="connsiteX6" fmla="*/ 136303 w 323754"/>
                <a:gd name="connsiteY6" fmla="*/ 246412 h 246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754" h="246411">
                  <a:moveTo>
                    <a:pt x="136303" y="246412"/>
                  </a:moveTo>
                  <a:lnTo>
                    <a:pt x="0" y="115919"/>
                  </a:lnTo>
                  <a:lnTo>
                    <a:pt x="50959" y="62675"/>
                  </a:lnTo>
                  <a:lnTo>
                    <a:pt x="134112" y="142208"/>
                  </a:lnTo>
                  <a:lnTo>
                    <a:pt x="270510" y="0"/>
                  </a:lnTo>
                  <a:lnTo>
                    <a:pt x="323755" y="50959"/>
                  </a:lnTo>
                  <a:lnTo>
                    <a:pt x="136303" y="246412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3" name="Shape32_20220502_101224">
              <a:extLst>
                <a:ext uri="{FF2B5EF4-FFF2-40B4-BE49-F238E27FC236}">
                  <a16:creationId xmlns:a16="http://schemas.microsoft.com/office/drawing/2014/main" id="{D9725AE4-AB93-1A19-E7CE-057B25186F3E}"/>
                </a:ext>
              </a:extLst>
            </p:cNvPr>
            <p:cNvSpPr/>
            <p:nvPr/>
          </p:nvSpPr>
          <p:spPr>
            <a:xfrm>
              <a:off x="9859936" y="4255168"/>
              <a:ext cx="336824" cy="40386"/>
            </a:xfrm>
            <a:custGeom>
              <a:avLst/>
              <a:gdLst>
                <a:gd name="connsiteX0" fmla="*/ 0 w 479012"/>
                <a:gd name="connsiteY0" fmla="*/ 0 h 57435"/>
                <a:gd name="connsiteX1" fmla="*/ 479012 w 479012"/>
                <a:gd name="connsiteY1" fmla="*/ 0 h 57435"/>
                <a:gd name="connsiteX2" fmla="*/ 479012 w 479012"/>
                <a:gd name="connsiteY2" fmla="*/ 57436 h 57435"/>
                <a:gd name="connsiteX3" fmla="*/ 0 w 479012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012" h="57435">
                  <a:moveTo>
                    <a:pt x="0" y="0"/>
                  </a:moveTo>
                  <a:lnTo>
                    <a:pt x="479012" y="0"/>
                  </a:lnTo>
                  <a:lnTo>
                    <a:pt x="479012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4" name="Shape33_20220502_101224">
              <a:extLst>
                <a:ext uri="{FF2B5EF4-FFF2-40B4-BE49-F238E27FC236}">
                  <a16:creationId xmlns:a16="http://schemas.microsoft.com/office/drawing/2014/main" id="{01E6E1A4-E8F2-ECB4-032E-C145DED657B3}"/>
                </a:ext>
              </a:extLst>
            </p:cNvPr>
            <p:cNvSpPr/>
            <p:nvPr/>
          </p:nvSpPr>
          <p:spPr>
            <a:xfrm>
              <a:off x="9859936" y="4357442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6" name="Shape34_20220502_101224">
              <a:extLst>
                <a:ext uri="{FF2B5EF4-FFF2-40B4-BE49-F238E27FC236}">
                  <a16:creationId xmlns:a16="http://schemas.microsoft.com/office/drawing/2014/main" id="{B433E6B1-5185-FB43-20B0-2C0D257A9924}"/>
                </a:ext>
              </a:extLst>
            </p:cNvPr>
            <p:cNvSpPr/>
            <p:nvPr/>
          </p:nvSpPr>
          <p:spPr>
            <a:xfrm>
              <a:off x="9859936" y="4456969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7" name="Shape35_20220502_101224">
              <a:extLst>
                <a:ext uri="{FF2B5EF4-FFF2-40B4-BE49-F238E27FC236}">
                  <a16:creationId xmlns:a16="http://schemas.microsoft.com/office/drawing/2014/main" id="{B7EADCA3-82DE-5F4F-9B73-1A0A1AAF50D3}"/>
                </a:ext>
              </a:extLst>
            </p:cNvPr>
            <p:cNvSpPr/>
            <p:nvPr/>
          </p:nvSpPr>
          <p:spPr>
            <a:xfrm>
              <a:off x="9859936" y="4556428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8" name="Shape36_20220502_101224">
              <a:extLst>
                <a:ext uri="{FF2B5EF4-FFF2-40B4-BE49-F238E27FC236}">
                  <a16:creationId xmlns:a16="http://schemas.microsoft.com/office/drawing/2014/main" id="{02D1DB78-96B6-B0AF-34FE-FB81D2289731}"/>
                </a:ext>
              </a:extLst>
            </p:cNvPr>
            <p:cNvSpPr/>
            <p:nvPr/>
          </p:nvSpPr>
          <p:spPr>
            <a:xfrm>
              <a:off x="9403357" y="4255168"/>
              <a:ext cx="341644" cy="341646"/>
            </a:xfrm>
            <a:custGeom>
              <a:avLst/>
              <a:gdLst>
                <a:gd name="connsiteX0" fmla="*/ 76581 w 485870"/>
                <a:gd name="connsiteY0" fmla="*/ 485870 h 485870"/>
                <a:gd name="connsiteX1" fmla="*/ 22479 w 485870"/>
                <a:gd name="connsiteY1" fmla="*/ 463391 h 485870"/>
                <a:gd name="connsiteX2" fmla="*/ 0 w 485870"/>
                <a:gd name="connsiteY2" fmla="*/ 409289 h 485870"/>
                <a:gd name="connsiteX3" fmla="*/ 0 w 485870"/>
                <a:gd name="connsiteY3" fmla="*/ 76581 h 485870"/>
                <a:gd name="connsiteX4" fmla="*/ 76581 w 485870"/>
                <a:gd name="connsiteY4" fmla="*/ 0 h 485870"/>
                <a:gd name="connsiteX5" fmla="*/ 409289 w 485870"/>
                <a:gd name="connsiteY5" fmla="*/ 0 h 485870"/>
                <a:gd name="connsiteX6" fmla="*/ 485870 w 485870"/>
                <a:gd name="connsiteY6" fmla="*/ 76581 h 485870"/>
                <a:gd name="connsiteX7" fmla="*/ 485870 w 485870"/>
                <a:gd name="connsiteY7" fmla="*/ 409289 h 485870"/>
                <a:gd name="connsiteX8" fmla="*/ 463391 w 485870"/>
                <a:gd name="connsiteY8" fmla="*/ 463391 h 485870"/>
                <a:gd name="connsiteX9" fmla="*/ 409289 w 485870"/>
                <a:gd name="connsiteY9" fmla="*/ 485870 h 485870"/>
                <a:gd name="connsiteX10" fmla="*/ 76581 w 485870"/>
                <a:gd name="connsiteY10" fmla="*/ 485870 h 485870"/>
                <a:gd name="connsiteX11" fmla="*/ 76581 w 485870"/>
                <a:gd name="connsiteY11" fmla="*/ 53721 h 485870"/>
                <a:gd name="connsiteX12" fmla="*/ 60484 w 485870"/>
                <a:gd name="connsiteY12" fmla="*/ 60389 h 485870"/>
                <a:gd name="connsiteX13" fmla="*/ 53816 w 485870"/>
                <a:gd name="connsiteY13" fmla="*/ 76486 h 485870"/>
                <a:gd name="connsiteX14" fmla="*/ 53816 w 485870"/>
                <a:gd name="connsiteY14" fmla="*/ 409194 h 485870"/>
                <a:gd name="connsiteX15" fmla="*/ 76676 w 485870"/>
                <a:gd name="connsiteY15" fmla="*/ 432054 h 485870"/>
                <a:gd name="connsiteX16" fmla="*/ 409289 w 485870"/>
                <a:gd name="connsiteY16" fmla="*/ 432054 h 485870"/>
                <a:gd name="connsiteX17" fmla="*/ 432149 w 485870"/>
                <a:gd name="connsiteY17" fmla="*/ 409194 h 485870"/>
                <a:gd name="connsiteX18" fmla="*/ 432149 w 485870"/>
                <a:gd name="connsiteY18" fmla="*/ 76486 h 485870"/>
                <a:gd name="connsiteX19" fmla="*/ 409289 w 485870"/>
                <a:gd name="connsiteY19" fmla="*/ 53626 h 485870"/>
                <a:gd name="connsiteX20" fmla="*/ 409289 w 485870"/>
                <a:gd name="connsiteY20" fmla="*/ 53626 h 485870"/>
                <a:gd name="connsiteX21" fmla="*/ 76581 w 485870"/>
                <a:gd name="connsiteY21" fmla="*/ 53721 h 4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5870" h="485870">
                  <a:moveTo>
                    <a:pt x="76581" y="485870"/>
                  </a:moveTo>
                  <a:cubicBezTo>
                    <a:pt x="56197" y="485870"/>
                    <a:pt x="36957" y="477869"/>
                    <a:pt x="22479" y="463391"/>
                  </a:cubicBezTo>
                  <a:cubicBezTo>
                    <a:pt x="8001" y="448913"/>
                    <a:pt x="0" y="429673"/>
                    <a:pt x="0" y="409289"/>
                  </a:cubicBezTo>
                  <a:lnTo>
                    <a:pt x="0" y="76581"/>
                  </a:lnTo>
                  <a:cubicBezTo>
                    <a:pt x="0" y="34385"/>
                    <a:pt x="34385" y="0"/>
                    <a:pt x="76581" y="0"/>
                  </a:cubicBezTo>
                  <a:lnTo>
                    <a:pt x="409289" y="0"/>
                  </a:lnTo>
                  <a:cubicBezTo>
                    <a:pt x="451485" y="0"/>
                    <a:pt x="485870" y="34385"/>
                    <a:pt x="485870" y="76581"/>
                  </a:cubicBezTo>
                  <a:lnTo>
                    <a:pt x="485870" y="409289"/>
                  </a:lnTo>
                  <a:cubicBezTo>
                    <a:pt x="485870" y="429673"/>
                    <a:pt x="477869" y="448913"/>
                    <a:pt x="463391" y="463391"/>
                  </a:cubicBezTo>
                  <a:cubicBezTo>
                    <a:pt x="448913" y="477869"/>
                    <a:pt x="429673" y="485870"/>
                    <a:pt x="409289" y="485870"/>
                  </a:cubicBezTo>
                  <a:lnTo>
                    <a:pt x="76581" y="485870"/>
                  </a:lnTo>
                  <a:close/>
                  <a:moveTo>
                    <a:pt x="76581" y="53721"/>
                  </a:moveTo>
                  <a:cubicBezTo>
                    <a:pt x="70485" y="53721"/>
                    <a:pt x="64770" y="56102"/>
                    <a:pt x="60484" y="60389"/>
                  </a:cubicBezTo>
                  <a:cubicBezTo>
                    <a:pt x="56197" y="64675"/>
                    <a:pt x="53816" y="70485"/>
                    <a:pt x="53816" y="76486"/>
                  </a:cubicBezTo>
                  <a:lnTo>
                    <a:pt x="53816" y="409194"/>
                  </a:lnTo>
                  <a:cubicBezTo>
                    <a:pt x="53816" y="421767"/>
                    <a:pt x="64103" y="432054"/>
                    <a:pt x="76676" y="432054"/>
                  </a:cubicBezTo>
                  <a:lnTo>
                    <a:pt x="409289" y="432054"/>
                  </a:lnTo>
                  <a:cubicBezTo>
                    <a:pt x="421862" y="432054"/>
                    <a:pt x="432149" y="421767"/>
                    <a:pt x="432149" y="409194"/>
                  </a:cubicBezTo>
                  <a:lnTo>
                    <a:pt x="432149" y="76486"/>
                  </a:lnTo>
                  <a:cubicBezTo>
                    <a:pt x="432149" y="63913"/>
                    <a:pt x="421957" y="53626"/>
                    <a:pt x="409289" y="53626"/>
                  </a:cubicBezTo>
                  <a:lnTo>
                    <a:pt x="409289" y="53626"/>
                  </a:lnTo>
                  <a:lnTo>
                    <a:pt x="76581" y="53721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9" name="Shape37_20220502_101224">
              <a:extLst>
                <a:ext uri="{FF2B5EF4-FFF2-40B4-BE49-F238E27FC236}">
                  <a16:creationId xmlns:a16="http://schemas.microsoft.com/office/drawing/2014/main" id="{1A465F2E-5731-DDD4-7FD0-979FF193299F}"/>
                </a:ext>
              </a:extLst>
            </p:cNvPr>
            <p:cNvSpPr/>
            <p:nvPr/>
          </p:nvSpPr>
          <p:spPr>
            <a:xfrm>
              <a:off x="9460419" y="4341164"/>
              <a:ext cx="227650" cy="173267"/>
            </a:xfrm>
            <a:custGeom>
              <a:avLst/>
              <a:gdLst>
                <a:gd name="connsiteX0" fmla="*/ 136303 w 323754"/>
                <a:gd name="connsiteY0" fmla="*/ 246412 h 246411"/>
                <a:gd name="connsiteX1" fmla="*/ 0 w 323754"/>
                <a:gd name="connsiteY1" fmla="*/ 115919 h 246411"/>
                <a:gd name="connsiteX2" fmla="*/ 50959 w 323754"/>
                <a:gd name="connsiteY2" fmla="*/ 62674 h 246411"/>
                <a:gd name="connsiteX3" fmla="*/ 134112 w 323754"/>
                <a:gd name="connsiteY3" fmla="*/ 142208 h 246411"/>
                <a:gd name="connsiteX4" fmla="*/ 270510 w 323754"/>
                <a:gd name="connsiteY4" fmla="*/ 0 h 246411"/>
                <a:gd name="connsiteX5" fmla="*/ 323755 w 323754"/>
                <a:gd name="connsiteY5" fmla="*/ 50959 h 246411"/>
                <a:gd name="connsiteX6" fmla="*/ 136303 w 323754"/>
                <a:gd name="connsiteY6" fmla="*/ 246412 h 246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754" h="246411">
                  <a:moveTo>
                    <a:pt x="136303" y="246412"/>
                  </a:moveTo>
                  <a:lnTo>
                    <a:pt x="0" y="115919"/>
                  </a:lnTo>
                  <a:lnTo>
                    <a:pt x="50959" y="62674"/>
                  </a:lnTo>
                  <a:lnTo>
                    <a:pt x="134112" y="142208"/>
                  </a:lnTo>
                  <a:lnTo>
                    <a:pt x="270510" y="0"/>
                  </a:lnTo>
                  <a:lnTo>
                    <a:pt x="323755" y="50959"/>
                  </a:lnTo>
                  <a:lnTo>
                    <a:pt x="136303" y="246412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60" name="Shape38_20220502_101224">
              <a:extLst>
                <a:ext uri="{FF2B5EF4-FFF2-40B4-BE49-F238E27FC236}">
                  <a16:creationId xmlns:a16="http://schemas.microsoft.com/office/drawing/2014/main" id="{079FE57B-66D1-8C10-F1C8-F60FF58907E9}"/>
                </a:ext>
              </a:extLst>
            </p:cNvPr>
            <p:cNvSpPr/>
            <p:nvPr/>
          </p:nvSpPr>
          <p:spPr>
            <a:xfrm rot="20243205">
              <a:off x="9915443" y="2600987"/>
              <a:ext cx="103543" cy="103409"/>
            </a:xfrm>
            <a:custGeom>
              <a:avLst/>
              <a:gdLst>
                <a:gd name="connsiteX0" fmla="*/ 147253 w 147253"/>
                <a:gd name="connsiteY0" fmla="*/ 73531 h 147062"/>
                <a:gd name="connsiteX1" fmla="*/ 73627 w 147253"/>
                <a:gd name="connsiteY1" fmla="*/ 147063 h 147062"/>
                <a:gd name="connsiteX2" fmla="*/ 0 w 147253"/>
                <a:gd name="connsiteY2" fmla="*/ 73531 h 147062"/>
                <a:gd name="connsiteX3" fmla="*/ 73627 w 147253"/>
                <a:gd name="connsiteY3" fmla="*/ 0 h 147062"/>
                <a:gd name="connsiteX4" fmla="*/ 147253 w 147253"/>
                <a:gd name="connsiteY4" fmla="*/ 73531 h 1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253" h="147062">
                  <a:moveTo>
                    <a:pt x="147253" y="73531"/>
                  </a:moveTo>
                  <a:cubicBezTo>
                    <a:pt x="147253" y="114142"/>
                    <a:pt x="114289" y="147063"/>
                    <a:pt x="73627" y="147063"/>
                  </a:cubicBezTo>
                  <a:cubicBezTo>
                    <a:pt x="32964" y="147063"/>
                    <a:pt x="0" y="114142"/>
                    <a:pt x="0" y="73531"/>
                  </a:cubicBezTo>
                  <a:cubicBezTo>
                    <a:pt x="0" y="32921"/>
                    <a:pt x="32964" y="0"/>
                    <a:pt x="73627" y="0"/>
                  </a:cubicBezTo>
                  <a:cubicBezTo>
                    <a:pt x="114289" y="0"/>
                    <a:pt x="147253" y="32921"/>
                    <a:pt x="147253" y="73531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086319A-2011-F414-35AE-FE3E1323F1D6}"/>
                </a:ext>
              </a:extLst>
            </p:cNvPr>
            <p:cNvGrpSpPr/>
            <p:nvPr/>
          </p:nvGrpSpPr>
          <p:grpSpPr>
            <a:xfrm>
              <a:off x="10922865" y="3113622"/>
              <a:ext cx="182578" cy="1522104"/>
              <a:chOff x="15675063" y="4403926"/>
              <a:chExt cx="266139" cy="2218722"/>
            </a:xfrm>
          </p:grpSpPr>
          <p:sp>
            <p:nvSpPr>
              <p:cNvPr id="62" name="Shape39_20220502_101224">
                <a:extLst>
                  <a:ext uri="{FF2B5EF4-FFF2-40B4-BE49-F238E27FC236}">
                    <a16:creationId xmlns:a16="http://schemas.microsoft.com/office/drawing/2014/main" id="{67B9B5B8-6F7A-C107-5941-88FACB5DE5E3}"/>
                  </a:ext>
                </a:extLst>
              </p:cNvPr>
              <p:cNvSpPr/>
              <p:nvPr/>
            </p:nvSpPr>
            <p:spPr>
              <a:xfrm>
                <a:off x="15724853" y="4453811"/>
                <a:ext cx="216349" cy="2168837"/>
              </a:xfrm>
              <a:custGeom>
                <a:avLst/>
                <a:gdLst>
                  <a:gd name="connsiteX0" fmla="*/ 187738 w 211074"/>
                  <a:gd name="connsiteY0" fmla="*/ 123825 h 2115978"/>
                  <a:gd name="connsiteX1" fmla="*/ 163735 w 211074"/>
                  <a:gd name="connsiteY1" fmla="*/ 123825 h 2115978"/>
                  <a:gd name="connsiteX2" fmla="*/ 163735 w 211074"/>
                  <a:gd name="connsiteY2" fmla="*/ 80105 h 2115978"/>
                  <a:gd name="connsiteX3" fmla="*/ 163735 w 211074"/>
                  <a:gd name="connsiteY3" fmla="*/ 27146 h 2115978"/>
                  <a:gd name="connsiteX4" fmla="*/ 136589 w 211074"/>
                  <a:gd name="connsiteY4" fmla="*/ 0 h 2115978"/>
                  <a:gd name="connsiteX5" fmla="*/ 74486 w 211074"/>
                  <a:gd name="connsiteY5" fmla="*/ 0 h 2115978"/>
                  <a:gd name="connsiteX6" fmla="*/ 47339 w 211074"/>
                  <a:gd name="connsiteY6" fmla="*/ 27146 h 2115978"/>
                  <a:gd name="connsiteX7" fmla="*/ 47339 w 211074"/>
                  <a:gd name="connsiteY7" fmla="*/ 80200 h 2115978"/>
                  <a:gd name="connsiteX8" fmla="*/ 47339 w 211074"/>
                  <a:gd name="connsiteY8" fmla="*/ 123920 h 2115978"/>
                  <a:gd name="connsiteX9" fmla="*/ 23336 w 211074"/>
                  <a:gd name="connsiteY9" fmla="*/ 123920 h 2115978"/>
                  <a:gd name="connsiteX10" fmla="*/ 0 w 211074"/>
                  <a:gd name="connsiteY10" fmla="*/ 147256 h 2115978"/>
                  <a:gd name="connsiteX11" fmla="*/ 0 w 211074"/>
                  <a:gd name="connsiteY11" fmla="*/ 205264 h 2115978"/>
                  <a:gd name="connsiteX12" fmla="*/ 0 w 211074"/>
                  <a:gd name="connsiteY12" fmla="*/ 222790 h 2115978"/>
                  <a:gd name="connsiteX13" fmla="*/ 0 w 211074"/>
                  <a:gd name="connsiteY13" fmla="*/ 1190816 h 2115978"/>
                  <a:gd name="connsiteX14" fmla="*/ 34576 w 211074"/>
                  <a:gd name="connsiteY14" fmla="*/ 1832991 h 2115978"/>
                  <a:gd name="connsiteX15" fmla="*/ 34576 w 211074"/>
                  <a:gd name="connsiteY15" fmla="*/ 1881569 h 2115978"/>
                  <a:gd name="connsiteX16" fmla="*/ 49911 w 211074"/>
                  <a:gd name="connsiteY16" fmla="*/ 1881569 h 2115978"/>
                  <a:gd name="connsiteX17" fmla="*/ 71723 w 211074"/>
                  <a:gd name="connsiteY17" fmla="*/ 2057876 h 2115978"/>
                  <a:gd name="connsiteX18" fmla="*/ 91154 w 211074"/>
                  <a:gd name="connsiteY18" fmla="*/ 2057876 h 2115978"/>
                  <a:gd name="connsiteX19" fmla="*/ 91154 w 211074"/>
                  <a:gd name="connsiteY19" fmla="*/ 2101120 h 2115978"/>
                  <a:gd name="connsiteX20" fmla="*/ 105537 w 211074"/>
                  <a:gd name="connsiteY20" fmla="*/ 2115979 h 2115978"/>
                  <a:gd name="connsiteX21" fmla="*/ 119920 w 211074"/>
                  <a:gd name="connsiteY21" fmla="*/ 2101120 h 2115978"/>
                  <a:gd name="connsiteX22" fmla="*/ 119920 w 211074"/>
                  <a:gd name="connsiteY22" fmla="*/ 2057876 h 2115978"/>
                  <a:gd name="connsiteX23" fmla="*/ 139351 w 211074"/>
                  <a:gd name="connsiteY23" fmla="*/ 2057876 h 2115978"/>
                  <a:gd name="connsiteX24" fmla="*/ 161163 w 211074"/>
                  <a:gd name="connsiteY24" fmla="*/ 1881569 h 2115978"/>
                  <a:gd name="connsiteX25" fmla="*/ 174593 w 211074"/>
                  <a:gd name="connsiteY25" fmla="*/ 1881569 h 2115978"/>
                  <a:gd name="connsiteX26" fmla="*/ 176498 w 211074"/>
                  <a:gd name="connsiteY26" fmla="*/ 1881569 h 2115978"/>
                  <a:gd name="connsiteX27" fmla="*/ 176498 w 211074"/>
                  <a:gd name="connsiteY27" fmla="*/ 1832991 h 2115978"/>
                  <a:gd name="connsiteX28" fmla="*/ 211074 w 211074"/>
                  <a:gd name="connsiteY28" fmla="*/ 1190816 h 2115978"/>
                  <a:gd name="connsiteX29" fmla="*/ 211074 w 211074"/>
                  <a:gd name="connsiteY29" fmla="*/ 1190816 h 2115978"/>
                  <a:gd name="connsiteX30" fmla="*/ 211074 w 211074"/>
                  <a:gd name="connsiteY30" fmla="*/ 1190816 h 2115978"/>
                  <a:gd name="connsiteX31" fmla="*/ 211074 w 211074"/>
                  <a:gd name="connsiteY31" fmla="*/ 1122712 h 2115978"/>
                  <a:gd name="connsiteX32" fmla="*/ 211074 w 211074"/>
                  <a:gd name="connsiteY32" fmla="*/ 222885 h 2115978"/>
                  <a:gd name="connsiteX33" fmla="*/ 211074 w 211074"/>
                  <a:gd name="connsiteY33" fmla="*/ 205359 h 2115978"/>
                  <a:gd name="connsiteX34" fmla="*/ 211074 w 211074"/>
                  <a:gd name="connsiteY34" fmla="*/ 147352 h 2115978"/>
                  <a:gd name="connsiteX35" fmla="*/ 187738 w 211074"/>
                  <a:gd name="connsiteY35" fmla="*/ 123825 h 2115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11074" h="2115978">
                    <a:moveTo>
                      <a:pt x="187738" y="123825"/>
                    </a:moveTo>
                    <a:lnTo>
                      <a:pt x="163735" y="123825"/>
                    </a:lnTo>
                    <a:lnTo>
                      <a:pt x="163735" y="80105"/>
                    </a:lnTo>
                    <a:lnTo>
                      <a:pt x="163735" y="27146"/>
                    </a:lnTo>
                    <a:cubicBezTo>
                      <a:pt x="163735" y="12192"/>
                      <a:pt x="151543" y="0"/>
                      <a:pt x="136589" y="0"/>
                    </a:cubicBezTo>
                    <a:lnTo>
                      <a:pt x="74486" y="0"/>
                    </a:lnTo>
                    <a:cubicBezTo>
                      <a:pt x="59531" y="0"/>
                      <a:pt x="47339" y="12192"/>
                      <a:pt x="47339" y="27146"/>
                    </a:cubicBezTo>
                    <a:lnTo>
                      <a:pt x="47339" y="80200"/>
                    </a:lnTo>
                    <a:lnTo>
                      <a:pt x="47339" y="123920"/>
                    </a:lnTo>
                    <a:lnTo>
                      <a:pt x="23336" y="123920"/>
                    </a:lnTo>
                    <a:cubicBezTo>
                      <a:pt x="10478" y="123920"/>
                      <a:pt x="0" y="134398"/>
                      <a:pt x="0" y="147256"/>
                    </a:cubicBezTo>
                    <a:lnTo>
                      <a:pt x="0" y="205264"/>
                    </a:lnTo>
                    <a:lnTo>
                      <a:pt x="0" y="222790"/>
                    </a:lnTo>
                    <a:lnTo>
                      <a:pt x="0" y="1190816"/>
                    </a:lnTo>
                    <a:lnTo>
                      <a:pt x="34576" y="1832991"/>
                    </a:lnTo>
                    <a:lnTo>
                      <a:pt x="34576" y="1881569"/>
                    </a:lnTo>
                    <a:lnTo>
                      <a:pt x="49911" y="1881569"/>
                    </a:lnTo>
                    <a:lnTo>
                      <a:pt x="71723" y="2057876"/>
                    </a:lnTo>
                    <a:lnTo>
                      <a:pt x="91154" y="2057876"/>
                    </a:lnTo>
                    <a:lnTo>
                      <a:pt x="91154" y="2101120"/>
                    </a:lnTo>
                    <a:cubicBezTo>
                      <a:pt x="91154" y="2109311"/>
                      <a:pt x="97631" y="2115979"/>
                      <a:pt x="105537" y="2115979"/>
                    </a:cubicBezTo>
                    <a:cubicBezTo>
                      <a:pt x="113443" y="2115979"/>
                      <a:pt x="119920" y="2109311"/>
                      <a:pt x="119920" y="2101120"/>
                    </a:cubicBezTo>
                    <a:lnTo>
                      <a:pt x="119920" y="2057876"/>
                    </a:lnTo>
                    <a:lnTo>
                      <a:pt x="139351" y="2057876"/>
                    </a:lnTo>
                    <a:lnTo>
                      <a:pt x="161163" y="1881569"/>
                    </a:lnTo>
                    <a:lnTo>
                      <a:pt x="174593" y="1881569"/>
                    </a:lnTo>
                    <a:lnTo>
                      <a:pt x="176498" y="1881569"/>
                    </a:lnTo>
                    <a:lnTo>
                      <a:pt x="176498" y="1832991"/>
                    </a:lnTo>
                    <a:lnTo>
                      <a:pt x="211074" y="1190816"/>
                    </a:lnTo>
                    <a:lnTo>
                      <a:pt x="211074" y="1190816"/>
                    </a:lnTo>
                    <a:lnTo>
                      <a:pt x="211074" y="1190816"/>
                    </a:lnTo>
                    <a:lnTo>
                      <a:pt x="211074" y="1122712"/>
                    </a:lnTo>
                    <a:lnTo>
                      <a:pt x="211074" y="222885"/>
                    </a:lnTo>
                    <a:lnTo>
                      <a:pt x="211074" y="205359"/>
                    </a:lnTo>
                    <a:lnTo>
                      <a:pt x="211074" y="147352"/>
                    </a:lnTo>
                    <a:cubicBezTo>
                      <a:pt x="211074" y="134302"/>
                      <a:pt x="200501" y="123825"/>
                      <a:pt x="187738" y="123825"/>
                    </a:cubicBezTo>
                    <a:close/>
                  </a:path>
                </a:pathLst>
              </a:custGeom>
              <a:solidFill>
                <a:srgbClr val="000000">
                  <a:alpha val="12000"/>
                </a:srgb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3" name="Shape40_20220502_101224">
                <a:extLst>
                  <a:ext uri="{FF2B5EF4-FFF2-40B4-BE49-F238E27FC236}">
                    <a16:creationId xmlns:a16="http://schemas.microsoft.com/office/drawing/2014/main" id="{C6F3A482-7BE7-3EBA-3FDE-D880D734B960}"/>
                  </a:ext>
                </a:extLst>
              </p:cNvPr>
              <p:cNvSpPr/>
              <p:nvPr/>
            </p:nvSpPr>
            <p:spPr>
              <a:xfrm>
                <a:off x="15723585" y="4403926"/>
                <a:ext cx="119303" cy="236751"/>
              </a:xfrm>
              <a:custGeom>
                <a:avLst/>
                <a:gdLst>
                  <a:gd name="connsiteX0" fmla="*/ 89249 w 116395"/>
                  <a:gd name="connsiteY0" fmla="*/ 230981 h 230981"/>
                  <a:gd name="connsiteX1" fmla="*/ 27146 w 116395"/>
                  <a:gd name="connsiteY1" fmla="*/ 230981 h 230981"/>
                  <a:gd name="connsiteX2" fmla="*/ 0 w 116395"/>
                  <a:gd name="connsiteY2" fmla="*/ 203835 h 230981"/>
                  <a:gd name="connsiteX3" fmla="*/ 0 w 116395"/>
                  <a:gd name="connsiteY3" fmla="*/ 27146 h 230981"/>
                  <a:gd name="connsiteX4" fmla="*/ 27146 w 116395"/>
                  <a:gd name="connsiteY4" fmla="*/ 0 h 230981"/>
                  <a:gd name="connsiteX5" fmla="*/ 89249 w 116395"/>
                  <a:gd name="connsiteY5" fmla="*/ 0 h 230981"/>
                  <a:gd name="connsiteX6" fmla="*/ 116396 w 116395"/>
                  <a:gd name="connsiteY6" fmla="*/ 27146 h 230981"/>
                  <a:gd name="connsiteX7" fmla="*/ 116396 w 116395"/>
                  <a:gd name="connsiteY7" fmla="*/ 203835 h 230981"/>
                  <a:gd name="connsiteX8" fmla="*/ 89249 w 116395"/>
                  <a:gd name="connsiteY8" fmla="*/ 230981 h 230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6395" h="230981">
                    <a:moveTo>
                      <a:pt x="89249" y="230981"/>
                    </a:moveTo>
                    <a:lnTo>
                      <a:pt x="27146" y="230981"/>
                    </a:lnTo>
                    <a:cubicBezTo>
                      <a:pt x="12192" y="230981"/>
                      <a:pt x="0" y="218789"/>
                      <a:pt x="0" y="203835"/>
                    </a:cubicBezTo>
                    <a:lnTo>
                      <a:pt x="0" y="27146"/>
                    </a:lnTo>
                    <a:cubicBezTo>
                      <a:pt x="0" y="12192"/>
                      <a:pt x="12192" y="0"/>
                      <a:pt x="27146" y="0"/>
                    </a:cubicBezTo>
                    <a:lnTo>
                      <a:pt x="89249" y="0"/>
                    </a:lnTo>
                    <a:cubicBezTo>
                      <a:pt x="104203" y="0"/>
                      <a:pt x="116396" y="12192"/>
                      <a:pt x="116396" y="27146"/>
                    </a:cubicBezTo>
                    <a:lnTo>
                      <a:pt x="116396" y="203835"/>
                    </a:lnTo>
                    <a:cubicBezTo>
                      <a:pt x="116300" y="218694"/>
                      <a:pt x="104108" y="230981"/>
                      <a:pt x="89249" y="230981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4" name="Shape41_20220502_101224">
                <a:extLst>
                  <a:ext uri="{FF2B5EF4-FFF2-40B4-BE49-F238E27FC236}">
                    <a16:creationId xmlns:a16="http://schemas.microsoft.com/office/drawing/2014/main" id="{4690AA3C-3F3C-9E6C-B2EA-1D735DC90042}"/>
                  </a:ext>
                </a:extLst>
              </p:cNvPr>
              <p:cNvSpPr/>
              <p:nvPr/>
            </p:nvSpPr>
            <p:spPr>
              <a:xfrm>
                <a:off x="15675063" y="4530942"/>
                <a:ext cx="216251" cy="125257"/>
              </a:xfrm>
              <a:custGeom>
                <a:avLst/>
                <a:gdLst>
                  <a:gd name="connsiteX0" fmla="*/ 187642 w 210979"/>
                  <a:gd name="connsiteY0" fmla="*/ 122206 h 122205"/>
                  <a:gd name="connsiteX1" fmla="*/ 23336 w 210979"/>
                  <a:gd name="connsiteY1" fmla="*/ 122206 h 122205"/>
                  <a:gd name="connsiteX2" fmla="*/ 0 w 210979"/>
                  <a:gd name="connsiteY2" fmla="*/ 98869 h 122205"/>
                  <a:gd name="connsiteX3" fmla="*/ 0 w 210979"/>
                  <a:gd name="connsiteY3" fmla="*/ 23336 h 122205"/>
                  <a:gd name="connsiteX4" fmla="*/ 23336 w 210979"/>
                  <a:gd name="connsiteY4" fmla="*/ 0 h 122205"/>
                  <a:gd name="connsiteX5" fmla="*/ 187642 w 210979"/>
                  <a:gd name="connsiteY5" fmla="*/ 0 h 122205"/>
                  <a:gd name="connsiteX6" fmla="*/ 210979 w 210979"/>
                  <a:gd name="connsiteY6" fmla="*/ 23336 h 122205"/>
                  <a:gd name="connsiteX7" fmla="*/ 210979 w 210979"/>
                  <a:gd name="connsiteY7" fmla="*/ 98869 h 122205"/>
                  <a:gd name="connsiteX8" fmla="*/ 187642 w 210979"/>
                  <a:gd name="connsiteY8" fmla="*/ 122206 h 122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0979" h="122205">
                    <a:moveTo>
                      <a:pt x="187642" y="122206"/>
                    </a:moveTo>
                    <a:lnTo>
                      <a:pt x="23336" y="122206"/>
                    </a:lnTo>
                    <a:cubicBezTo>
                      <a:pt x="10477" y="122206"/>
                      <a:pt x="0" y="111728"/>
                      <a:pt x="0" y="98869"/>
                    </a:cubicBezTo>
                    <a:lnTo>
                      <a:pt x="0" y="23336"/>
                    </a:lnTo>
                    <a:cubicBezTo>
                      <a:pt x="0" y="10477"/>
                      <a:pt x="10477" y="0"/>
                      <a:pt x="23336" y="0"/>
                    </a:cubicBezTo>
                    <a:lnTo>
                      <a:pt x="187642" y="0"/>
                    </a:lnTo>
                    <a:cubicBezTo>
                      <a:pt x="200501" y="0"/>
                      <a:pt x="210979" y="10477"/>
                      <a:pt x="210979" y="23336"/>
                    </a:cubicBezTo>
                    <a:lnTo>
                      <a:pt x="210979" y="98869"/>
                    </a:lnTo>
                    <a:cubicBezTo>
                      <a:pt x="211074" y="111728"/>
                      <a:pt x="200501" y="122206"/>
                      <a:pt x="187642" y="122206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5" name="Shape0_20220502_101239">
                <a:extLst>
                  <a:ext uri="{FF2B5EF4-FFF2-40B4-BE49-F238E27FC236}">
                    <a16:creationId xmlns:a16="http://schemas.microsoft.com/office/drawing/2014/main" id="{B8EAA28F-77C1-7D94-CE44-EBE8059EE31A}"/>
                  </a:ext>
                </a:extLst>
              </p:cNvPr>
              <p:cNvSpPr/>
              <p:nvPr/>
            </p:nvSpPr>
            <p:spPr>
              <a:xfrm>
                <a:off x="15675063" y="4614317"/>
                <a:ext cx="216347" cy="1668389"/>
              </a:xfrm>
              <a:custGeom>
                <a:avLst/>
                <a:gdLst>
                  <a:gd name="connsiteX0" fmla="*/ 105537 w 211073"/>
                  <a:gd name="connsiteY0" fmla="*/ 0 h 1627727"/>
                  <a:gd name="connsiteX1" fmla="*/ 105537 w 211073"/>
                  <a:gd name="connsiteY1" fmla="*/ 0 h 1627727"/>
                  <a:gd name="connsiteX2" fmla="*/ 0 w 211073"/>
                  <a:gd name="connsiteY2" fmla="*/ 0 h 1627727"/>
                  <a:gd name="connsiteX3" fmla="*/ 0 w 211073"/>
                  <a:gd name="connsiteY3" fmla="*/ 985552 h 1627727"/>
                  <a:gd name="connsiteX4" fmla="*/ 34576 w 211073"/>
                  <a:gd name="connsiteY4" fmla="*/ 1627727 h 1627727"/>
                  <a:gd name="connsiteX5" fmla="*/ 105537 w 211073"/>
                  <a:gd name="connsiteY5" fmla="*/ 1627727 h 1627727"/>
                  <a:gd name="connsiteX6" fmla="*/ 105537 w 211073"/>
                  <a:gd name="connsiteY6" fmla="*/ 1627727 h 1627727"/>
                  <a:gd name="connsiteX7" fmla="*/ 176498 w 211073"/>
                  <a:gd name="connsiteY7" fmla="*/ 1627727 h 1627727"/>
                  <a:gd name="connsiteX8" fmla="*/ 211074 w 211073"/>
                  <a:gd name="connsiteY8" fmla="*/ 985552 h 1627727"/>
                  <a:gd name="connsiteX9" fmla="*/ 211074 w 211073"/>
                  <a:gd name="connsiteY9" fmla="*/ 0 h 1627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1073" h="1627727">
                    <a:moveTo>
                      <a:pt x="105537" y="0"/>
                    </a:moveTo>
                    <a:lnTo>
                      <a:pt x="105537" y="0"/>
                    </a:lnTo>
                    <a:lnTo>
                      <a:pt x="0" y="0"/>
                    </a:lnTo>
                    <a:lnTo>
                      <a:pt x="0" y="985552"/>
                    </a:lnTo>
                    <a:lnTo>
                      <a:pt x="34576" y="1627727"/>
                    </a:lnTo>
                    <a:lnTo>
                      <a:pt x="105537" y="1627727"/>
                    </a:lnTo>
                    <a:lnTo>
                      <a:pt x="105537" y="1627727"/>
                    </a:lnTo>
                    <a:lnTo>
                      <a:pt x="176498" y="1627727"/>
                    </a:lnTo>
                    <a:lnTo>
                      <a:pt x="211074" y="985552"/>
                    </a:lnTo>
                    <a:lnTo>
                      <a:pt x="211074" y="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6" name="Shape0_20220502_101227">
                <a:extLst>
                  <a:ext uri="{FF2B5EF4-FFF2-40B4-BE49-F238E27FC236}">
                    <a16:creationId xmlns:a16="http://schemas.microsoft.com/office/drawing/2014/main" id="{A25D706F-A10E-44D6-871F-1B852C3A781B}"/>
                  </a:ext>
                </a:extLst>
              </p:cNvPr>
              <p:cNvSpPr/>
              <p:nvPr/>
            </p:nvSpPr>
            <p:spPr>
              <a:xfrm>
                <a:off x="15792024" y="4614317"/>
                <a:ext cx="99387" cy="1668389"/>
              </a:xfrm>
              <a:custGeom>
                <a:avLst/>
                <a:gdLst>
                  <a:gd name="connsiteX0" fmla="*/ 34576 w 96964"/>
                  <a:gd name="connsiteY0" fmla="*/ 0 h 1627727"/>
                  <a:gd name="connsiteX1" fmla="*/ 34576 w 96964"/>
                  <a:gd name="connsiteY1" fmla="*/ 985552 h 1627727"/>
                  <a:gd name="connsiteX2" fmla="*/ 0 w 96964"/>
                  <a:gd name="connsiteY2" fmla="*/ 1627727 h 1627727"/>
                  <a:gd name="connsiteX3" fmla="*/ 62389 w 96964"/>
                  <a:gd name="connsiteY3" fmla="*/ 1627727 h 1627727"/>
                  <a:gd name="connsiteX4" fmla="*/ 96964 w 96964"/>
                  <a:gd name="connsiteY4" fmla="*/ 985552 h 1627727"/>
                  <a:gd name="connsiteX5" fmla="*/ 96964 w 96964"/>
                  <a:gd name="connsiteY5" fmla="*/ 0 h 1627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6964" h="1627727">
                    <a:moveTo>
                      <a:pt x="34576" y="0"/>
                    </a:moveTo>
                    <a:lnTo>
                      <a:pt x="34576" y="985552"/>
                    </a:lnTo>
                    <a:lnTo>
                      <a:pt x="0" y="1627727"/>
                    </a:lnTo>
                    <a:lnTo>
                      <a:pt x="62389" y="1627727"/>
                    </a:lnTo>
                    <a:lnTo>
                      <a:pt x="96964" y="985552"/>
                    </a:lnTo>
                    <a:lnTo>
                      <a:pt x="96964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7" name="Shape1_20220502_101243">
                <a:extLst>
                  <a:ext uri="{FF2B5EF4-FFF2-40B4-BE49-F238E27FC236}">
                    <a16:creationId xmlns:a16="http://schemas.microsoft.com/office/drawing/2014/main" id="{20F751FD-745C-A084-492D-1CF2B76EA16A}"/>
                  </a:ext>
                </a:extLst>
              </p:cNvPr>
              <p:cNvSpPr/>
              <p:nvPr/>
            </p:nvSpPr>
            <p:spPr>
              <a:xfrm>
                <a:off x="15707282" y="6212802"/>
                <a:ext cx="151813" cy="69902"/>
              </a:xfrm>
              <a:custGeom>
                <a:avLst/>
                <a:gdLst>
                  <a:gd name="connsiteX0" fmla="*/ 0 w 148113"/>
                  <a:gd name="connsiteY0" fmla="*/ 0 h 68198"/>
                  <a:gd name="connsiteX1" fmla="*/ 3429 w 148113"/>
                  <a:gd name="connsiteY1" fmla="*/ 68199 h 68198"/>
                  <a:gd name="connsiteX2" fmla="*/ 74104 w 148113"/>
                  <a:gd name="connsiteY2" fmla="*/ 68199 h 68198"/>
                  <a:gd name="connsiteX3" fmla="*/ 74104 w 148113"/>
                  <a:gd name="connsiteY3" fmla="*/ 68199 h 68198"/>
                  <a:gd name="connsiteX4" fmla="*/ 145066 w 148113"/>
                  <a:gd name="connsiteY4" fmla="*/ 68199 h 68198"/>
                  <a:gd name="connsiteX5" fmla="*/ 148114 w 148113"/>
                  <a:gd name="connsiteY5" fmla="*/ 0 h 68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8113" h="68198">
                    <a:moveTo>
                      <a:pt x="0" y="0"/>
                    </a:moveTo>
                    <a:lnTo>
                      <a:pt x="3429" y="68199"/>
                    </a:lnTo>
                    <a:lnTo>
                      <a:pt x="74104" y="68199"/>
                    </a:lnTo>
                    <a:lnTo>
                      <a:pt x="74104" y="68199"/>
                    </a:lnTo>
                    <a:lnTo>
                      <a:pt x="145066" y="68199"/>
                    </a:lnTo>
                    <a:lnTo>
                      <a:pt x="148114" y="0"/>
                    </a:ln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8" name="Shape44_20220502_101224">
                <a:extLst>
                  <a:ext uri="{FF2B5EF4-FFF2-40B4-BE49-F238E27FC236}">
                    <a16:creationId xmlns:a16="http://schemas.microsoft.com/office/drawing/2014/main" id="{DB71A894-87BD-EC27-F12B-52D2AF6E9B8B}"/>
                  </a:ext>
                </a:extLst>
              </p:cNvPr>
              <p:cNvSpPr/>
              <p:nvPr/>
            </p:nvSpPr>
            <p:spPr>
              <a:xfrm>
                <a:off x="15768495" y="6420751"/>
                <a:ext cx="29484" cy="152009"/>
              </a:xfrm>
              <a:custGeom>
                <a:avLst/>
                <a:gdLst>
                  <a:gd name="connsiteX0" fmla="*/ 14383 w 28765"/>
                  <a:gd name="connsiteY0" fmla="*/ 148304 h 148304"/>
                  <a:gd name="connsiteX1" fmla="*/ 0 w 28765"/>
                  <a:gd name="connsiteY1" fmla="*/ 133445 h 148304"/>
                  <a:gd name="connsiteX2" fmla="*/ 0 w 28765"/>
                  <a:gd name="connsiteY2" fmla="*/ 14859 h 148304"/>
                  <a:gd name="connsiteX3" fmla="*/ 14383 w 28765"/>
                  <a:gd name="connsiteY3" fmla="*/ 0 h 148304"/>
                  <a:gd name="connsiteX4" fmla="*/ 28766 w 28765"/>
                  <a:gd name="connsiteY4" fmla="*/ 14859 h 148304"/>
                  <a:gd name="connsiteX5" fmla="*/ 28766 w 28765"/>
                  <a:gd name="connsiteY5" fmla="*/ 133445 h 148304"/>
                  <a:gd name="connsiteX6" fmla="*/ 14383 w 28765"/>
                  <a:gd name="connsiteY6" fmla="*/ 148304 h 148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765" h="148304">
                    <a:moveTo>
                      <a:pt x="14383" y="148304"/>
                    </a:moveTo>
                    <a:cubicBezTo>
                      <a:pt x="6477" y="148304"/>
                      <a:pt x="0" y="141637"/>
                      <a:pt x="0" y="133445"/>
                    </a:cubicBezTo>
                    <a:lnTo>
                      <a:pt x="0" y="14859"/>
                    </a:lnTo>
                    <a:cubicBezTo>
                      <a:pt x="0" y="6668"/>
                      <a:pt x="6477" y="0"/>
                      <a:pt x="14383" y="0"/>
                    </a:cubicBezTo>
                    <a:cubicBezTo>
                      <a:pt x="22288" y="0"/>
                      <a:pt x="28766" y="6668"/>
                      <a:pt x="28766" y="14859"/>
                    </a:cubicBezTo>
                    <a:lnTo>
                      <a:pt x="28766" y="133445"/>
                    </a:lnTo>
                    <a:cubicBezTo>
                      <a:pt x="28766" y="141637"/>
                      <a:pt x="22288" y="148304"/>
                      <a:pt x="14383" y="148304"/>
                    </a:cubicBezTo>
                    <a:close/>
                  </a:path>
                </a:pathLst>
              </a:custGeom>
              <a:solidFill>
                <a:srgbClr val="353D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9" name="Shape2_20220502_101243">
                <a:extLst>
                  <a:ext uri="{FF2B5EF4-FFF2-40B4-BE49-F238E27FC236}">
                    <a16:creationId xmlns:a16="http://schemas.microsoft.com/office/drawing/2014/main" id="{C219ED63-1FA1-8262-6CB3-6324D14DDE20}"/>
                  </a:ext>
                </a:extLst>
              </p:cNvPr>
              <p:cNvSpPr/>
              <p:nvPr/>
            </p:nvSpPr>
            <p:spPr>
              <a:xfrm>
                <a:off x="15675063" y="5554586"/>
                <a:ext cx="216349" cy="69902"/>
              </a:xfrm>
              <a:custGeom>
                <a:avLst/>
                <a:gdLst>
                  <a:gd name="connsiteX0" fmla="*/ 0 w 211074"/>
                  <a:gd name="connsiteY0" fmla="*/ 0 h 68198"/>
                  <a:gd name="connsiteX1" fmla="*/ 211074 w 211074"/>
                  <a:gd name="connsiteY1" fmla="*/ 0 h 68198"/>
                  <a:gd name="connsiteX2" fmla="*/ 211074 w 211074"/>
                  <a:gd name="connsiteY2" fmla="*/ 68199 h 68198"/>
                  <a:gd name="connsiteX3" fmla="*/ 0 w 211074"/>
                  <a:gd name="connsiteY3" fmla="*/ 68199 h 68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1074" h="68198">
                    <a:moveTo>
                      <a:pt x="0" y="0"/>
                    </a:moveTo>
                    <a:lnTo>
                      <a:pt x="211074" y="0"/>
                    </a:lnTo>
                    <a:lnTo>
                      <a:pt x="211074" y="68199"/>
                    </a:lnTo>
                    <a:lnTo>
                      <a:pt x="0" y="6819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0" name="Shape46_20220502_101224">
                <a:extLst>
                  <a:ext uri="{FF2B5EF4-FFF2-40B4-BE49-F238E27FC236}">
                    <a16:creationId xmlns:a16="http://schemas.microsoft.com/office/drawing/2014/main" id="{3FFAB09C-12C4-D313-14FA-C910B5CC5EEA}"/>
                  </a:ext>
                </a:extLst>
              </p:cNvPr>
              <p:cNvSpPr/>
              <p:nvPr/>
            </p:nvSpPr>
            <p:spPr>
              <a:xfrm>
                <a:off x="15710503" y="6282705"/>
                <a:ext cx="145470" cy="49792"/>
              </a:xfrm>
              <a:custGeom>
                <a:avLst/>
                <a:gdLst>
                  <a:gd name="connsiteX0" fmla="*/ 140018 w 141922"/>
                  <a:gd name="connsiteY0" fmla="*/ 0 h 48577"/>
                  <a:gd name="connsiteX1" fmla="*/ 107347 w 141922"/>
                  <a:gd name="connsiteY1" fmla="*/ 0 h 48577"/>
                  <a:gd name="connsiteX2" fmla="*/ 0 w 141922"/>
                  <a:gd name="connsiteY2" fmla="*/ 0 h 48577"/>
                  <a:gd name="connsiteX3" fmla="*/ 0 w 141922"/>
                  <a:gd name="connsiteY3" fmla="*/ 48578 h 48577"/>
                  <a:gd name="connsiteX4" fmla="*/ 107347 w 141922"/>
                  <a:gd name="connsiteY4" fmla="*/ 48578 h 48577"/>
                  <a:gd name="connsiteX5" fmla="*/ 140018 w 141922"/>
                  <a:gd name="connsiteY5" fmla="*/ 48578 h 48577"/>
                  <a:gd name="connsiteX6" fmla="*/ 141923 w 141922"/>
                  <a:gd name="connsiteY6" fmla="*/ 48578 h 48577"/>
                  <a:gd name="connsiteX7" fmla="*/ 141923 w 141922"/>
                  <a:gd name="connsiteY7" fmla="*/ 0 h 48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1922" h="48577">
                    <a:moveTo>
                      <a:pt x="140018" y="0"/>
                    </a:moveTo>
                    <a:lnTo>
                      <a:pt x="107347" y="0"/>
                    </a:lnTo>
                    <a:lnTo>
                      <a:pt x="0" y="0"/>
                    </a:lnTo>
                    <a:lnTo>
                      <a:pt x="0" y="48578"/>
                    </a:lnTo>
                    <a:lnTo>
                      <a:pt x="107347" y="48578"/>
                    </a:lnTo>
                    <a:lnTo>
                      <a:pt x="140018" y="48578"/>
                    </a:lnTo>
                    <a:lnTo>
                      <a:pt x="141923" y="48578"/>
                    </a:lnTo>
                    <a:lnTo>
                      <a:pt x="141923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1" name="Shape1_20220502_101239">
                <a:extLst>
                  <a:ext uri="{FF2B5EF4-FFF2-40B4-BE49-F238E27FC236}">
                    <a16:creationId xmlns:a16="http://schemas.microsoft.com/office/drawing/2014/main" id="{D1006105-4FE8-C21A-D6EA-A07448408E31}"/>
                  </a:ext>
                </a:extLst>
              </p:cNvPr>
              <p:cNvSpPr/>
              <p:nvPr/>
            </p:nvSpPr>
            <p:spPr>
              <a:xfrm>
                <a:off x="15726223" y="6332496"/>
                <a:ext cx="114031" cy="180710"/>
              </a:xfrm>
              <a:custGeom>
                <a:avLst/>
                <a:gdLst>
                  <a:gd name="connsiteX0" fmla="*/ 0 w 111251"/>
                  <a:gd name="connsiteY0" fmla="*/ 0 h 176307"/>
                  <a:gd name="connsiteX1" fmla="*/ 21812 w 111251"/>
                  <a:gd name="connsiteY1" fmla="*/ 176308 h 176307"/>
                  <a:gd name="connsiteX2" fmla="*/ 89440 w 111251"/>
                  <a:gd name="connsiteY2" fmla="*/ 176308 h 176307"/>
                  <a:gd name="connsiteX3" fmla="*/ 111252 w 111251"/>
                  <a:gd name="connsiteY3" fmla="*/ 0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251" h="176307">
                    <a:moveTo>
                      <a:pt x="0" y="0"/>
                    </a:moveTo>
                    <a:lnTo>
                      <a:pt x="21812" y="176308"/>
                    </a:lnTo>
                    <a:lnTo>
                      <a:pt x="89440" y="176308"/>
                    </a:lnTo>
                    <a:lnTo>
                      <a:pt x="111252" y="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2" name="Shape0_20220502_101249">
                <a:extLst>
                  <a:ext uri="{FF2B5EF4-FFF2-40B4-BE49-F238E27FC236}">
                    <a16:creationId xmlns:a16="http://schemas.microsoft.com/office/drawing/2014/main" id="{75BCC78D-6BE7-DB4D-1C9F-5EE6E2BC006F}"/>
                  </a:ext>
                </a:extLst>
              </p:cNvPr>
              <p:cNvSpPr/>
              <p:nvPr/>
            </p:nvSpPr>
            <p:spPr>
              <a:xfrm>
                <a:off x="15827465" y="5554586"/>
                <a:ext cx="63947" cy="69805"/>
              </a:xfrm>
              <a:custGeom>
                <a:avLst/>
                <a:gdLst>
                  <a:gd name="connsiteX0" fmla="*/ 0 w 62388"/>
                  <a:gd name="connsiteY0" fmla="*/ 0 h 68103"/>
                  <a:gd name="connsiteX1" fmla="*/ 62389 w 62388"/>
                  <a:gd name="connsiteY1" fmla="*/ 0 h 68103"/>
                  <a:gd name="connsiteX2" fmla="*/ 62389 w 62388"/>
                  <a:gd name="connsiteY2" fmla="*/ 68104 h 68103"/>
                  <a:gd name="connsiteX3" fmla="*/ 0 w 62388"/>
                  <a:gd name="connsiteY3" fmla="*/ 68104 h 68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388" h="68103">
                    <a:moveTo>
                      <a:pt x="0" y="0"/>
                    </a:moveTo>
                    <a:lnTo>
                      <a:pt x="62389" y="0"/>
                    </a:lnTo>
                    <a:lnTo>
                      <a:pt x="62389" y="68104"/>
                    </a:lnTo>
                    <a:lnTo>
                      <a:pt x="0" y="68104"/>
                    </a:ln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3" name="Shape1_20220502_101249">
                <a:extLst>
                  <a:ext uri="{FF2B5EF4-FFF2-40B4-BE49-F238E27FC236}">
                    <a16:creationId xmlns:a16="http://schemas.microsoft.com/office/drawing/2014/main" id="{C902B28A-8E28-CCAB-7A03-8A9DF4AFD642}"/>
                  </a:ext>
                </a:extLst>
              </p:cNvPr>
              <p:cNvSpPr/>
              <p:nvPr/>
            </p:nvSpPr>
            <p:spPr>
              <a:xfrm>
                <a:off x="15795245" y="6212802"/>
                <a:ext cx="63848" cy="69902"/>
              </a:xfrm>
              <a:custGeom>
                <a:avLst/>
                <a:gdLst>
                  <a:gd name="connsiteX0" fmla="*/ 0 w 62293"/>
                  <a:gd name="connsiteY0" fmla="*/ 0 h 68198"/>
                  <a:gd name="connsiteX1" fmla="*/ 0 w 62293"/>
                  <a:gd name="connsiteY1" fmla="*/ 68199 h 68198"/>
                  <a:gd name="connsiteX2" fmla="*/ 59246 w 62293"/>
                  <a:gd name="connsiteY2" fmla="*/ 68199 h 68198"/>
                  <a:gd name="connsiteX3" fmla="*/ 62293 w 62293"/>
                  <a:gd name="connsiteY3" fmla="*/ 0 h 68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293" h="68198">
                    <a:moveTo>
                      <a:pt x="0" y="0"/>
                    </a:moveTo>
                    <a:lnTo>
                      <a:pt x="0" y="68199"/>
                    </a:lnTo>
                    <a:lnTo>
                      <a:pt x="59246" y="68199"/>
                    </a:lnTo>
                    <a:lnTo>
                      <a:pt x="62293" y="0"/>
                    </a:ln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4" name="Shape50_20220502_101224">
                <a:extLst>
                  <a:ext uri="{FF2B5EF4-FFF2-40B4-BE49-F238E27FC236}">
                    <a16:creationId xmlns:a16="http://schemas.microsoft.com/office/drawing/2014/main" id="{D583C652-8AD7-9D67-CC80-52BB054F8100}"/>
                  </a:ext>
                </a:extLst>
              </p:cNvPr>
              <p:cNvSpPr/>
              <p:nvPr/>
            </p:nvSpPr>
            <p:spPr>
              <a:xfrm>
                <a:off x="15723585" y="4486129"/>
                <a:ext cx="119207" cy="44811"/>
              </a:xfrm>
              <a:custGeom>
                <a:avLst/>
                <a:gdLst>
                  <a:gd name="connsiteX0" fmla="*/ 0 w 116300"/>
                  <a:gd name="connsiteY0" fmla="*/ 0 h 43719"/>
                  <a:gd name="connsiteX1" fmla="*/ 116300 w 116300"/>
                  <a:gd name="connsiteY1" fmla="*/ 0 h 43719"/>
                  <a:gd name="connsiteX2" fmla="*/ 116300 w 116300"/>
                  <a:gd name="connsiteY2" fmla="*/ 43720 h 43719"/>
                  <a:gd name="connsiteX3" fmla="*/ 0 w 116300"/>
                  <a:gd name="connsiteY3" fmla="*/ 43720 h 43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6300" h="43719">
                    <a:moveTo>
                      <a:pt x="0" y="0"/>
                    </a:moveTo>
                    <a:lnTo>
                      <a:pt x="116300" y="0"/>
                    </a:lnTo>
                    <a:lnTo>
                      <a:pt x="116300" y="43720"/>
                    </a:lnTo>
                    <a:lnTo>
                      <a:pt x="0" y="4372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5" name="Shape51_20220502_101224">
                <a:extLst>
                  <a:ext uri="{FF2B5EF4-FFF2-40B4-BE49-F238E27FC236}">
                    <a16:creationId xmlns:a16="http://schemas.microsoft.com/office/drawing/2014/main" id="{30338024-758F-C58B-6699-CBC10E898E71}"/>
                  </a:ext>
                </a:extLst>
              </p:cNvPr>
              <p:cNvSpPr/>
              <p:nvPr/>
            </p:nvSpPr>
            <p:spPr>
              <a:xfrm>
                <a:off x="15747799" y="4727176"/>
                <a:ext cx="75955" cy="536863"/>
              </a:xfrm>
              <a:custGeom>
                <a:avLst/>
                <a:gdLst>
                  <a:gd name="connsiteX0" fmla="*/ 67628 w 74104"/>
                  <a:gd name="connsiteY0" fmla="*/ 523780 h 523779"/>
                  <a:gd name="connsiteX1" fmla="*/ 6477 w 74104"/>
                  <a:gd name="connsiteY1" fmla="*/ 523780 h 523779"/>
                  <a:gd name="connsiteX2" fmla="*/ 0 w 74104"/>
                  <a:gd name="connsiteY2" fmla="*/ 517303 h 523779"/>
                  <a:gd name="connsiteX3" fmla="*/ 0 w 74104"/>
                  <a:gd name="connsiteY3" fmla="*/ 6477 h 523779"/>
                  <a:gd name="connsiteX4" fmla="*/ 6477 w 74104"/>
                  <a:gd name="connsiteY4" fmla="*/ 0 h 523779"/>
                  <a:gd name="connsiteX5" fmla="*/ 67628 w 74104"/>
                  <a:gd name="connsiteY5" fmla="*/ 0 h 523779"/>
                  <a:gd name="connsiteX6" fmla="*/ 74104 w 74104"/>
                  <a:gd name="connsiteY6" fmla="*/ 6477 h 523779"/>
                  <a:gd name="connsiteX7" fmla="*/ 74104 w 74104"/>
                  <a:gd name="connsiteY7" fmla="*/ 517303 h 523779"/>
                  <a:gd name="connsiteX8" fmla="*/ 67628 w 74104"/>
                  <a:gd name="connsiteY8" fmla="*/ 523780 h 523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104" h="523779">
                    <a:moveTo>
                      <a:pt x="67628" y="523780"/>
                    </a:moveTo>
                    <a:lnTo>
                      <a:pt x="6477" y="523780"/>
                    </a:lnTo>
                    <a:cubicBezTo>
                      <a:pt x="2953" y="523780"/>
                      <a:pt x="0" y="520922"/>
                      <a:pt x="0" y="517303"/>
                    </a:cubicBezTo>
                    <a:lnTo>
                      <a:pt x="0" y="6477"/>
                    </a:lnTo>
                    <a:cubicBezTo>
                      <a:pt x="0" y="2953"/>
                      <a:pt x="2858" y="0"/>
                      <a:pt x="6477" y="0"/>
                    </a:cubicBezTo>
                    <a:lnTo>
                      <a:pt x="67628" y="0"/>
                    </a:lnTo>
                    <a:cubicBezTo>
                      <a:pt x="71152" y="0"/>
                      <a:pt x="74104" y="2858"/>
                      <a:pt x="74104" y="6477"/>
                    </a:cubicBezTo>
                    <a:lnTo>
                      <a:pt x="74104" y="517303"/>
                    </a:lnTo>
                    <a:cubicBezTo>
                      <a:pt x="74104" y="520922"/>
                      <a:pt x="71247" y="523780"/>
                      <a:pt x="67628" y="523780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6" name="Shape52_20220502_101224">
                <a:extLst>
                  <a:ext uri="{FF2B5EF4-FFF2-40B4-BE49-F238E27FC236}">
                    <a16:creationId xmlns:a16="http://schemas.microsoft.com/office/drawing/2014/main" id="{68ECD7E5-709A-C481-30E7-6F8D69116F93}"/>
                  </a:ext>
                </a:extLst>
              </p:cNvPr>
              <p:cNvSpPr/>
              <p:nvPr/>
            </p:nvSpPr>
            <p:spPr>
              <a:xfrm>
                <a:off x="15747894" y="5337555"/>
                <a:ext cx="75857" cy="62385"/>
              </a:xfrm>
              <a:custGeom>
                <a:avLst/>
                <a:gdLst>
                  <a:gd name="connsiteX0" fmla="*/ 48387 w 74009"/>
                  <a:gd name="connsiteY0" fmla="*/ 26384 h 60864"/>
                  <a:gd name="connsiteX1" fmla="*/ 25622 w 74009"/>
                  <a:gd name="connsiteY1" fmla="*/ 26384 h 60864"/>
                  <a:gd name="connsiteX2" fmla="*/ 0 w 74009"/>
                  <a:gd name="connsiteY2" fmla="*/ 0 h 60864"/>
                  <a:gd name="connsiteX3" fmla="*/ 0 w 74009"/>
                  <a:gd name="connsiteY3" fmla="*/ 34480 h 60864"/>
                  <a:gd name="connsiteX4" fmla="*/ 25622 w 74009"/>
                  <a:gd name="connsiteY4" fmla="*/ 60865 h 60864"/>
                  <a:gd name="connsiteX5" fmla="*/ 48387 w 74009"/>
                  <a:gd name="connsiteY5" fmla="*/ 60865 h 60864"/>
                  <a:gd name="connsiteX6" fmla="*/ 74009 w 74009"/>
                  <a:gd name="connsiteY6" fmla="*/ 34480 h 60864"/>
                  <a:gd name="connsiteX7" fmla="*/ 74009 w 74009"/>
                  <a:gd name="connsiteY7" fmla="*/ 0 h 60864"/>
                  <a:gd name="connsiteX8" fmla="*/ 48387 w 74009"/>
                  <a:gd name="connsiteY8" fmla="*/ 26384 h 60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009" h="60864">
                    <a:moveTo>
                      <a:pt x="48387" y="26384"/>
                    </a:moveTo>
                    <a:lnTo>
                      <a:pt x="25622" y="26384"/>
                    </a:lnTo>
                    <a:cubicBezTo>
                      <a:pt x="11430" y="26384"/>
                      <a:pt x="0" y="14573"/>
                      <a:pt x="0" y="0"/>
                    </a:cubicBezTo>
                    <a:lnTo>
                      <a:pt x="0" y="34480"/>
                    </a:lnTo>
                    <a:cubicBezTo>
                      <a:pt x="0" y="49054"/>
                      <a:pt x="11525" y="60865"/>
                      <a:pt x="25622" y="60865"/>
                    </a:cubicBezTo>
                    <a:lnTo>
                      <a:pt x="48387" y="60865"/>
                    </a:lnTo>
                    <a:cubicBezTo>
                      <a:pt x="62579" y="60865"/>
                      <a:pt x="74009" y="49054"/>
                      <a:pt x="74009" y="34480"/>
                    </a:cubicBezTo>
                    <a:lnTo>
                      <a:pt x="74009" y="0"/>
                    </a:lnTo>
                    <a:cubicBezTo>
                      <a:pt x="74009" y="14573"/>
                      <a:pt x="62579" y="26384"/>
                      <a:pt x="48387" y="26384"/>
                    </a:cubicBez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7" name="Shape0_20220502_101243">
                <a:extLst>
                  <a:ext uri="{FF2B5EF4-FFF2-40B4-BE49-F238E27FC236}">
                    <a16:creationId xmlns:a16="http://schemas.microsoft.com/office/drawing/2014/main" id="{666661C1-FBAF-657F-105B-816ED0DD05D0}"/>
                  </a:ext>
                </a:extLst>
              </p:cNvPr>
              <p:cNvSpPr/>
              <p:nvPr/>
            </p:nvSpPr>
            <p:spPr>
              <a:xfrm>
                <a:off x="15747894" y="4727371"/>
                <a:ext cx="75859" cy="640156"/>
              </a:xfrm>
              <a:custGeom>
                <a:avLst/>
                <a:gdLst>
                  <a:gd name="connsiteX0" fmla="*/ 48006 w 74009"/>
                  <a:gd name="connsiteY0" fmla="*/ 624554 h 624554"/>
                  <a:gd name="connsiteX1" fmla="*/ 26003 w 74009"/>
                  <a:gd name="connsiteY1" fmla="*/ 624554 h 624554"/>
                  <a:gd name="connsiteX2" fmla="*/ 0 w 74009"/>
                  <a:gd name="connsiteY2" fmla="*/ 598551 h 624554"/>
                  <a:gd name="connsiteX3" fmla="*/ 0 w 74009"/>
                  <a:gd name="connsiteY3" fmla="*/ 26003 h 624554"/>
                  <a:gd name="connsiteX4" fmla="*/ 26003 w 74009"/>
                  <a:gd name="connsiteY4" fmla="*/ 0 h 624554"/>
                  <a:gd name="connsiteX5" fmla="*/ 48006 w 74009"/>
                  <a:gd name="connsiteY5" fmla="*/ 0 h 624554"/>
                  <a:gd name="connsiteX6" fmla="*/ 74009 w 74009"/>
                  <a:gd name="connsiteY6" fmla="*/ 26003 h 624554"/>
                  <a:gd name="connsiteX7" fmla="*/ 74009 w 74009"/>
                  <a:gd name="connsiteY7" fmla="*/ 598551 h 624554"/>
                  <a:gd name="connsiteX8" fmla="*/ 48006 w 74009"/>
                  <a:gd name="connsiteY8" fmla="*/ 624554 h 62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009" h="624554">
                    <a:moveTo>
                      <a:pt x="48006" y="624554"/>
                    </a:moveTo>
                    <a:lnTo>
                      <a:pt x="26003" y="624554"/>
                    </a:lnTo>
                    <a:cubicBezTo>
                      <a:pt x="11621" y="624554"/>
                      <a:pt x="0" y="612934"/>
                      <a:pt x="0" y="598551"/>
                    </a:cubicBezTo>
                    <a:lnTo>
                      <a:pt x="0" y="26003"/>
                    </a:lnTo>
                    <a:cubicBezTo>
                      <a:pt x="0" y="11621"/>
                      <a:pt x="11621" y="0"/>
                      <a:pt x="26003" y="0"/>
                    </a:cubicBezTo>
                    <a:lnTo>
                      <a:pt x="48006" y="0"/>
                    </a:lnTo>
                    <a:cubicBezTo>
                      <a:pt x="62389" y="0"/>
                      <a:pt x="74009" y="11621"/>
                      <a:pt x="74009" y="26003"/>
                    </a:cubicBezTo>
                    <a:lnTo>
                      <a:pt x="74009" y="598551"/>
                    </a:lnTo>
                    <a:cubicBezTo>
                      <a:pt x="74009" y="612839"/>
                      <a:pt x="62389" y="624554"/>
                      <a:pt x="48006" y="624554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8" name="Shape2_20220502_101249">
                <a:extLst>
                  <a:ext uri="{FF2B5EF4-FFF2-40B4-BE49-F238E27FC236}">
                    <a16:creationId xmlns:a16="http://schemas.microsoft.com/office/drawing/2014/main" id="{71CCADB6-9B35-C557-F338-A8AF5CE69FD6}"/>
                  </a:ext>
                </a:extLst>
              </p:cNvPr>
              <p:cNvSpPr/>
              <p:nvPr/>
            </p:nvSpPr>
            <p:spPr>
              <a:xfrm>
                <a:off x="15747894" y="5305142"/>
                <a:ext cx="75857" cy="62385"/>
              </a:xfrm>
              <a:custGeom>
                <a:avLst/>
                <a:gdLst>
                  <a:gd name="connsiteX0" fmla="*/ 48387 w 74009"/>
                  <a:gd name="connsiteY0" fmla="*/ 26384 h 60864"/>
                  <a:gd name="connsiteX1" fmla="*/ 25622 w 74009"/>
                  <a:gd name="connsiteY1" fmla="*/ 26384 h 60864"/>
                  <a:gd name="connsiteX2" fmla="*/ 0 w 74009"/>
                  <a:gd name="connsiteY2" fmla="*/ 0 h 60864"/>
                  <a:gd name="connsiteX3" fmla="*/ 0 w 74009"/>
                  <a:gd name="connsiteY3" fmla="*/ 34481 h 60864"/>
                  <a:gd name="connsiteX4" fmla="*/ 25622 w 74009"/>
                  <a:gd name="connsiteY4" fmla="*/ 60865 h 60864"/>
                  <a:gd name="connsiteX5" fmla="*/ 48387 w 74009"/>
                  <a:gd name="connsiteY5" fmla="*/ 60865 h 60864"/>
                  <a:gd name="connsiteX6" fmla="*/ 74009 w 74009"/>
                  <a:gd name="connsiteY6" fmla="*/ 34481 h 60864"/>
                  <a:gd name="connsiteX7" fmla="*/ 74009 w 74009"/>
                  <a:gd name="connsiteY7" fmla="*/ 0 h 60864"/>
                  <a:gd name="connsiteX8" fmla="*/ 48387 w 74009"/>
                  <a:gd name="connsiteY8" fmla="*/ 26384 h 60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009" h="60864">
                    <a:moveTo>
                      <a:pt x="48387" y="26384"/>
                    </a:moveTo>
                    <a:lnTo>
                      <a:pt x="25622" y="26384"/>
                    </a:lnTo>
                    <a:cubicBezTo>
                      <a:pt x="11430" y="26384"/>
                      <a:pt x="0" y="14573"/>
                      <a:pt x="0" y="0"/>
                    </a:cubicBezTo>
                    <a:lnTo>
                      <a:pt x="0" y="34481"/>
                    </a:lnTo>
                    <a:cubicBezTo>
                      <a:pt x="0" y="49054"/>
                      <a:pt x="11525" y="60865"/>
                      <a:pt x="25622" y="60865"/>
                    </a:cubicBezTo>
                    <a:lnTo>
                      <a:pt x="48387" y="60865"/>
                    </a:lnTo>
                    <a:cubicBezTo>
                      <a:pt x="62579" y="60865"/>
                      <a:pt x="74009" y="49054"/>
                      <a:pt x="74009" y="34481"/>
                    </a:cubicBezTo>
                    <a:lnTo>
                      <a:pt x="74009" y="0"/>
                    </a:lnTo>
                    <a:cubicBezTo>
                      <a:pt x="74009" y="14573"/>
                      <a:pt x="62579" y="26384"/>
                      <a:pt x="48387" y="26384"/>
                    </a:cubicBez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737410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70</TotalTime>
  <Words>18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hecklist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28</cp:revision>
  <dcterms:created xsi:type="dcterms:W3CDTF">2021-03-31T02:49:57Z</dcterms:created>
  <dcterms:modified xsi:type="dcterms:W3CDTF">2025-10-15T02:51:50Z</dcterms:modified>
  <cp:category/>
</cp:coreProperties>
</file>